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0" r:id="rId2"/>
  </p:sldMasterIdLst>
  <p:notesMasterIdLst>
    <p:notesMasterId r:id="rId17"/>
  </p:notesMasterIdLst>
  <p:sldIdLst>
    <p:sldId id="5271" r:id="rId3"/>
    <p:sldId id="257" r:id="rId4"/>
    <p:sldId id="5272" r:id="rId5"/>
    <p:sldId id="259" r:id="rId6"/>
    <p:sldId id="260" r:id="rId7"/>
    <p:sldId id="258" r:id="rId8"/>
    <p:sldId id="261" r:id="rId9"/>
    <p:sldId id="262" r:id="rId10"/>
    <p:sldId id="263" r:id="rId11"/>
    <p:sldId id="264" r:id="rId12"/>
    <p:sldId id="265" r:id="rId13"/>
    <p:sldId id="256" r:id="rId14"/>
    <p:sldId id="266" r:id="rId15"/>
    <p:sldId id="267" r:id="rId16"/>
  </p:sldIdLst>
  <p:sldSz cx="18288000" cy="10287000"/>
  <p:notesSz cx="6858000" cy="9144000"/>
  <p:embeddedFontLst>
    <p:embeddedFont>
      <p:font typeface="DM Sans 1" panose="020B0604020202020204" charset="0"/>
      <p:regular r:id="rId18"/>
    </p:embeddedFont>
    <p:embeddedFont>
      <p:font typeface="DM Sans 2" panose="020B0604020202020204" charset="0"/>
      <p:regular r:id="rId19"/>
    </p:embeddedFont>
    <p:embeddedFont>
      <p:font typeface="DM Sans 2 Bold" panose="020B0604020202020204" charset="0"/>
      <p:regular r:id="rId20"/>
    </p:embeddedFont>
    <p:embeddedFont>
      <p:font typeface="Open Sans" panose="020B0606030504020204" pitchFamily="34" charset="0"/>
      <p:regular r:id="rId21"/>
      <p:bold r:id="rId22"/>
      <p:italic r:id="rId23"/>
      <p:boldItalic r:id="rId24"/>
    </p:embeddedFont>
    <p:embeddedFont>
      <p:font typeface="Open Sans Bold" panose="020B0806030504020204" charset="0"/>
      <p:regular r:id="rId2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1633"/>
    <a:srgbClr val="112540"/>
    <a:srgbClr val="00AED8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 varScale="1">
        <p:scale>
          <a:sx n="70" d="100"/>
          <a:sy n="70" d="100"/>
        </p:scale>
        <p:origin x="774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font" Target="fonts/font1.fntdata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font" Target="fonts/font4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font" Target="fonts/font3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7.fntdata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6.fntdata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font" Target="fonts/font2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5.fntdata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E2E8E9-83B0-4A5D-A76B-D49383761B9C}" type="datetimeFigureOut">
              <a:rPr lang="en-US" smtClean="0"/>
              <a:t>9/26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CC8AA7-92A5-4F1F-A18C-7695838026C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313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gs </a:t>
            </a:r>
            <a:r>
              <a:rPr lang="en-US" dirty="0" err="1"/>
              <a:t>kontrollieren</a:t>
            </a:r>
            <a:r>
              <a:rPr lang="en-US" dirty="0"/>
              <a:t>, </a:t>
            </a:r>
            <a:r>
              <a:rPr lang="en-US" dirty="0" err="1"/>
              <a:t>Bildquelle</a:t>
            </a:r>
            <a:r>
              <a:rPr lang="en-US" dirty="0"/>
              <a:t> </a:t>
            </a:r>
            <a:r>
              <a:rPr lang="en-US" dirty="0" err="1"/>
              <a:t>einfügen</a:t>
            </a:r>
            <a:r>
              <a:rPr lang="en-US" dirty="0"/>
              <a:t>, Link </a:t>
            </a:r>
            <a:r>
              <a:rPr lang="en-US" dirty="0" err="1"/>
              <a:t>zur</a:t>
            </a:r>
            <a:r>
              <a:rPr lang="en-US" dirty="0"/>
              <a:t> BP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CC8AA7-92A5-4F1F-A18C-7695838026C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8485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gs </a:t>
            </a:r>
            <a:r>
              <a:rPr lang="en-US" dirty="0" err="1"/>
              <a:t>kontrollieren</a:t>
            </a:r>
            <a:r>
              <a:rPr lang="en-US" dirty="0"/>
              <a:t>, </a:t>
            </a:r>
            <a:r>
              <a:rPr lang="en-US" dirty="0" err="1"/>
              <a:t>Bildquelle</a:t>
            </a:r>
            <a:r>
              <a:rPr lang="en-US" dirty="0"/>
              <a:t> </a:t>
            </a:r>
            <a:r>
              <a:rPr lang="en-US" dirty="0" err="1"/>
              <a:t>einfügen</a:t>
            </a:r>
            <a:r>
              <a:rPr lang="en-US" dirty="0"/>
              <a:t>, Link </a:t>
            </a:r>
            <a:r>
              <a:rPr lang="en-US" dirty="0" err="1"/>
              <a:t>zur</a:t>
            </a:r>
            <a:r>
              <a:rPr lang="en-US" dirty="0"/>
              <a:t> BP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CC8AA7-92A5-4F1F-A18C-7695838026C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46102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D1AA51-D695-2B46-875E-A953EB3D1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C9AFAD-C49B-1040-8FA0-79041CCF4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ahmenstrategie 2021 - Name Referent*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C27DF7-E53B-E240-9C62-AF038C0D70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</p:spTree>
    <p:extLst>
      <p:ext uri="{BB962C8B-B14F-4D97-AF65-F5344CB8AC3E}">
        <p14:creationId xmlns:p14="http://schemas.microsoft.com/office/powerpoint/2010/main" val="89417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30659CD-7A28-F14F-BAB7-0F132D13F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174564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30659CD-7A28-F14F-BAB7-0F132D13F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1190813C-06BF-6846-9CB7-4CD4AD461D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247466" y="1206451"/>
            <a:ext cx="15060705" cy="847164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74CBDDB2-B78A-FF4C-3E2A-AEF6AE37A61F}"/>
              </a:ext>
            </a:extLst>
          </p:cNvPr>
          <p:cNvSpPr/>
          <p:nvPr userDrawn="1"/>
        </p:nvSpPr>
        <p:spPr>
          <a:xfrm>
            <a:off x="-1" y="-53847"/>
            <a:ext cx="11981330" cy="103408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5BB7336-83F4-7FC2-779A-5B1B1B1794E4}"/>
              </a:ext>
            </a:extLst>
          </p:cNvPr>
          <p:cNvSpPr/>
          <p:nvPr userDrawn="1"/>
        </p:nvSpPr>
        <p:spPr>
          <a:xfrm>
            <a:off x="6306671" y="-53847"/>
            <a:ext cx="11981330" cy="17280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E10D22B-68B3-78A7-1DA1-0F1AB0EF97A2}"/>
              </a:ext>
            </a:extLst>
          </p:cNvPr>
          <p:cNvSpPr/>
          <p:nvPr userDrawn="1"/>
        </p:nvSpPr>
        <p:spPr>
          <a:xfrm>
            <a:off x="6326840" y="9110805"/>
            <a:ext cx="11981330" cy="12300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975047932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92E87808-D944-C24C-B300-BC465CFA3D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E75C6CD-2F35-EEB1-EE0C-D3691D4D1B4E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1501358311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1293384-A569-9E4E-9B48-7F81BCC4D2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6FFE28A-7E72-424D-1B01-AE7785EA7A6E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762180528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840545877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5D63B19-E5A2-80FB-D935-110B00C30C17}"/>
              </a:ext>
            </a:extLst>
          </p:cNvPr>
          <p:cNvGrpSpPr/>
          <p:nvPr userDrawn="1"/>
        </p:nvGrpSpPr>
        <p:grpSpPr>
          <a:xfrm>
            <a:off x="997528" y="2541514"/>
            <a:ext cx="16292945" cy="7305206"/>
            <a:chOff x="1439101" y="2020771"/>
            <a:chExt cx="7829277" cy="4547632"/>
          </a:xfrm>
        </p:grpSpPr>
        <p:sp>
          <p:nvSpPr>
            <p:cNvPr id="3" name="Inhaltsplatzhalter 1">
              <a:extLst>
                <a:ext uri="{FF2B5EF4-FFF2-40B4-BE49-F238E27FC236}">
                  <a16:creationId xmlns:a16="http://schemas.microsoft.com/office/drawing/2014/main" id="{F72A9BC4-6929-0BDF-EA8C-9E3A75BE198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2020771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5400"/>
            </a:p>
          </p:txBody>
        </p:sp>
        <p:sp>
          <p:nvSpPr>
            <p:cNvPr id="6" name="Inhaltsplatzhalter 1">
              <a:extLst>
                <a:ext uri="{FF2B5EF4-FFF2-40B4-BE49-F238E27FC236}">
                  <a16:creationId xmlns:a16="http://schemas.microsoft.com/office/drawing/2014/main" id="{62B87217-F7A0-EB1E-3347-B18516D55043}"/>
                </a:ext>
              </a:extLst>
            </p:cNvPr>
            <p:cNvSpPr txBox="1">
              <a:spLocks/>
            </p:cNvSpPr>
            <p:nvPr/>
          </p:nvSpPr>
          <p:spPr>
            <a:xfrm>
              <a:off x="5559545" y="2020771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>
                <a:latin typeface="Arial"/>
                <a:cs typeface="Arial"/>
              </a:endParaRPr>
            </a:p>
          </p:txBody>
        </p:sp>
        <p:sp>
          <p:nvSpPr>
            <p:cNvPr id="7" name="Inhaltsplatzhalter 1">
              <a:extLst>
                <a:ext uri="{FF2B5EF4-FFF2-40B4-BE49-F238E27FC236}">
                  <a16:creationId xmlns:a16="http://schemas.microsoft.com/office/drawing/2014/main" id="{40AB41A7-A5EF-9F23-D3EA-96544DABE56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4400845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 u="sng">
                <a:latin typeface="Arial"/>
                <a:cs typeface="Arial"/>
              </a:endParaRPr>
            </a:p>
          </p:txBody>
        </p:sp>
        <p:sp>
          <p:nvSpPr>
            <p:cNvPr id="8" name="Inhaltsplatzhalter 1">
              <a:extLst>
                <a:ext uri="{FF2B5EF4-FFF2-40B4-BE49-F238E27FC236}">
                  <a16:creationId xmlns:a16="http://schemas.microsoft.com/office/drawing/2014/main" id="{67E2A3B7-58EB-4458-3B10-90DE99356365}"/>
                </a:ext>
              </a:extLst>
            </p:cNvPr>
            <p:cNvSpPr txBox="1">
              <a:spLocks/>
            </p:cNvSpPr>
            <p:nvPr/>
          </p:nvSpPr>
          <p:spPr>
            <a:xfrm>
              <a:off x="5559544" y="4400845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750"/>
                </a:spcBef>
                <a:buFont typeface="Wingdings" pitchFamily="2" charset="2"/>
                <a:buNone/>
              </a:pPr>
              <a:endParaRPr lang="de-DE" sz="1800">
                <a:latin typeface="Arial"/>
                <a:cs typeface="Arial"/>
              </a:endParaRPr>
            </a:p>
          </p:txBody>
        </p:sp>
      </p:grpSp>
      <p:sp>
        <p:nvSpPr>
          <p:cNvPr id="9" name="Rechteck: abgerundete Ecken 3">
            <a:extLst>
              <a:ext uri="{FF2B5EF4-FFF2-40B4-BE49-F238E27FC236}">
                <a16:creationId xmlns:a16="http://schemas.microsoft.com/office/drawing/2014/main" id="{3A053A6A-0EAA-04DC-ABC7-5EED6FB00C20}"/>
              </a:ext>
            </a:extLst>
          </p:cNvPr>
          <p:cNvSpPr/>
          <p:nvPr userDrawn="1"/>
        </p:nvSpPr>
        <p:spPr>
          <a:xfrm rot="16200000">
            <a:off x="-517959" y="3312495"/>
            <a:ext cx="2546430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Sinn / Zweck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0" name="Rechteck: abgerundete Ecken 4">
            <a:extLst>
              <a:ext uri="{FF2B5EF4-FFF2-40B4-BE49-F238E27FC236}">
                <a16:creationId xmlns:a16="http://schemas.microsoft.com/office/drawing/2014/main" id="{F0CCB30F-CB06-C598-7853-9521CC08AD88}"/>
              </a:ext>
            </a:extLst>
          </p:cNvPr>
          <p:cNvSpPr/>
          <p:nvPr userDrawn="1"/>
        </p:nvSpPr>
        <p:spPr>
          <a:xfrm rot="5400000">
            <a:off x="15746195" y="3908704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Personen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1" name="Rechteck: abgerundete Ecken 9">
            <a:extLst>
              <a:ext uri="{FF2B5EF4-FFF2-40B4-BE49-F238E27FC236}">
                <a16:creationId xmlns:a16="http://schemas.microsoft.com/office/drawing/2014/main" id="{4FA47FA2-6996-50EA-9538-F5AB64FCD3C0}"/>
              </a:ext>
            </a:extLst>
          </p:cNvPr>
          <p:cNvSpPr/>
          <p:nvPr userDrawn="1"/>
        </p:nvSpPr>
        <p:spPr>
          <a:xfrm rot="16200000">
            <a:off x="-1562902" y="7428405"/>
            <a:ext cx="4611698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Meilensteine</a:t>
            </a:r>
            <a:endParaRPr lang="de-DE" sz="2700">
              <a:solidFill>
                <a:schemeClr val="bg2"/>
              </a:solidFill>
            </a:endParaRPr>
          </a:p>
        </p:txBody>
      </p:sp>
      <p:sp>
        <p:nvSpPr>
          <p:cNvPr id="12" name="Rechteck: abgerundete Ecken 3">
            <a:extLst>
              <a:ext uri="{FF2B5EF4-FFF2-40B4-BE49-F238E27FC236}">
                <a16:creationId xmlns:a16="http://schemas.microsoft.com/office/drawing/2014/main" id="{7496811C-2CE1-103A-D10B-12B52646780A}"/>
              </a:ext>
            </a:extLst>
          </p:cNvPr>
          <p:cNvSpPr/>
          <p:nvPr userDrawn="1"/>
        </p:nvSpPr>
        <p:spPr>
          <a:xfrm rot="16200000">
            <a:off x="-108177" y="915967"/>
            <a:ext cx="1024341" cy="355112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1500">
                <a:solidFill>
                  <a:schemeClr val="bg2"/>
                </a:solidFill>
                <a:latin typeface="Arial"/>
                <a:cs typeface="Arial"/>
              </a:rPr>
              <a:t>Auftrag</a:t>
            </a:r>
            <a:endParaRPr lang="de-DE" sz="15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3" name="Rechteck: abgerundete Ecken 3">
            <a:extLst>
              <a:ext uri="{FF2B5EF4-FFF2-40B4-BE49-F238E27FC236}">
                <a16:creationId xmlns:a16="http://schemas.microsoft.com/office/drawing/2014/main" id="{02C7822C-199B-EC64-C87A-B12A5C5A31D7}"/>
              </a:ext>
            </a:extLst>
          </p:cNvPr>
          <p:cNvSpPr/>
          <p:nvPr userDrawn="1"/>
        </p:nvSpPr>
        <p:spPr>
          <a:xfrm>
            <a:off x="581550" y="477803"/>
            <a:ext cx="3170646" cy="1262013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endParaRPr lang="de-DE" sz="99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4" name="Rechteck: abgerundete Ecken 3">
            <a:extLst>
              <a:ext uri="{FF2B5EF4-FFF2-40B4-BE49-F238E27FC236}">
                <a16:creationId xmlns:a16="http://schemas.microsoft.com/office/drawing/2014/main" id="{074EFF40-F5F0-915B-357F-9B981BF560B5}"/>
              </a:ext>
            </a:extLst>
          </p:cNvPr>
          <p:cNvSpPr/>
          <p:nvPr userDrawn="1"/>
        </p:nvSpPr>
        <p:spPr>
          <a:xfrm>
            <a:off x="3426542" y="581352"/>
            <a:ext cx="118896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Rechteck: abgerundete Ecken 3">
            <a:extLst>
              <a:ext uri="{FF2B5EF4-FFF2-40B4-BE49-F238E27FC236}">
                <a16:creationId xmlns:a16="http://schemas.microsoft.com/office/drawing/2014/main" id="{ADAD1F71-9D7A-45A2-7D20-E5D6FA872D27}"/>
              </a:ext>
            </a:extLst>
          </p:cNvPr>
          <p:cNvSpPr/>
          <p:nvPr userDrawn="1"/>
        </p:nvSpPr>
        <p:spPr>
          <a:xfrm>
            <a:off x="15539971" y="582863"/>
            <a:ext cx="24078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marL="0" indent="0">
              <a:buNone/>
            </a:pPr>
            <a:endParaRPr lang="de-DE" sz="300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6" name="Rechteck: abgerundete Ecken 4">
            <a:extLst>
              <a:ext uri="{FF2B5EF4-FFF2-40B4-BE49-F238E27FC236}">
                <a16:creationId xmlns:a16="http://schemas.microsoft.com/office/drawing/2014/main" id="{67351508-2EB7-AE8F-2662-9EABF36AD2FF}"/>
              </a:ext>
            </a:extLst>
          </p:cNvPr>
          <p:cNvSpPr/>
          <p:nvPr userDrawn="1"/>
        </p:nvSpPr>
        <p:spPr>
          <a:xfrm rot="5400000">
            <a:off x="15746193" y="7915927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algn="r"/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Erfolgskriterien</a:t>
            </a:r>
            <a:endParaRPr lang="en-US" sz="2700">
              <a:solidFill>
                <a:schemeClr val="bg2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86260164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0713CEF-9EFC-B647-8CD3-E6C7C2D69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9447009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0713CEF-9EFC-B647-8CD3-E6C7C2D69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9482F3-47FC-F341-9CD0-3010811904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6339" y="2738438"/>
            <a:ext cx="16257407" cy="6527007"/>
          </a:xfrm>
        </p:spPr>
        <p:txBody>
          <a:bodyPr/>
          <a:lstStyle>
            <a:lvl1pPr marL="428625" marR="0" indent="-428625" algn="l" defTabSz="13716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1028700" marR="0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 sz="2400" baseline="0">
                <a:latin typeface="Arial" panose="020B0604020202020204" pitchFamily="34" charset="0"/>
              </a:defRPr>
            </a:lvl2pPr>
            <a:lvl3pPr marL="1714500" marR="0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2400" baseline="0">
                <a:latin typeface="Arial" panose="020B0604020202020204" pitchFamily="34" charset="0"/>
              </a:defRPr>
            </a:lvl3pPr>
          </a:lstStyle>
          <a:p>
            <a:pPr marL="428625" marR="0" lvl="0" indent="-428625" algn="l" defTabSz="13716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fzählung Ebene 1</a:t>
            </a:r>
          </a:p>
          <a:p>
            <a:pPr marL="1028700" marR="0" lvl="1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2</a:t>
            </a:r>
          </a:p>
          <a:p>
            <a:pPr marL="1714500" marR="0" lvl="2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3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i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0C6BFEEB-ECFF-4C48-92FE-312C51CB0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500616406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8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979A643-0C58-9640-84A1-E0C560C252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8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3C25E9D5-8FA4-B94E-8C8C-1BB0DC4D6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625627869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70C6C35-A5AF-7D48-AB66-64768F12D45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12413745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15FF0338-6CCB-CD4C-8FBA-94EB4C882AC9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715041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94D9109E-1BE1-8E40-B857-0CCB6654F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906589920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777340335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ein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3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8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39" y="2576676"/>
            <a:ext cx="5909115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8" y="4870642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8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8" y="7305313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4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ECC58060-1838-DC42-8727-D88889BEED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779653846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mehr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3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8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39" y="2576676"/>
            <a:ext cx="5909115" cy="892040"/>
          </a:xfr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8" y="4870642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8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8" y="7305313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4"/>
            <a:ext cx="9534318" cy="892040"/>
          </a:xfr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C88DE74A-C8FD-8049-BD0C-FFC9C123D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095081386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4775" y="359766"/>
            <a:ext cx="17558214" cy="9601200"/>
          </a:xfrm>
          <a:solidFill>
            <a:schemeClr val="tx1">
              <a:lumMod val="85000"/>
              <a:alpha val="90000"/>
            </a:schemeClr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unk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5" y="9324976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FAAE7FF-208F-2043-85E9-9A33928EFA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58944" y="547689"/>
            <a:ext cx="4244486" cy="1427391"/>
          </a:xfrm>
          <a:prstGeom prst="rect">
            <a:avLst/>
          </a:prstGeom>
        </p:spPr>
      </p:pic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26BA3A1E-5EFF-5040-B178-505B1F9D0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756989933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8288000" cy="10287000"/>
          </a:xfrm>
          <a:solidFill>
            <a:schemeClr val="tx1">
              <a:lumMod val="85000"/>
              <a:alpha val="1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Hel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5" y="9324976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effectLst/>
              </a:defRPr>
            </a:lvl1pPr>
          </a:lstStyle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A2FB161-2A9F-624D-AE19-35B69F7CF4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F353D9CE-E466-E941-85FA-8E7D10B44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900403025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chemeClr val="bg2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2" y="9684692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chemeClr val="bg2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38" y="9684692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chemeClr val="bg2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13137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258785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rgbClr val="002060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2" y="9684692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rgbClr val="002060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38" y="9684692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rgbClr val="00206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4343515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mensschild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C55A511F-315F-C340-BD8B-8AE029B862BD}"/>
              </a:ext>
            </a:extLst>
          </p:cNvPr>
          <p:cNvSpPr txBox="1">
            <a:spLocks/>
          </p:cNvSpPr>
          <p:nvPr userDrawn="1"/>
        </p:nvSpPr>
        <p:spPr>
          <a:xfrm>
            <a:off x="714587" y="3534294"/>
            <a:ext cx="17047634" cy="5257662"/>
          </a:xfrm>
          <a:prstGeom prst="rect">
            <a:avLst/>
          </a:prstGeom>
        </p:spPr>
        <p:txBody>
          <a:bodyPr vert="horz" lIns="137160" tIns="68580" rIns="137160" bIns="6858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0" b="1">
                <a:solidFill>
                  <a:srgbClr val="002060"/>
                </a:solidFill>
              </a:rPr>
              <a:t>Vorname Nachname </a:t>
            </a:r>
          </a:p>
          <a:p>
            <a:r>
              <a:rPr lang="de-DE" sz="12000" b="1">
                <a:solidFill>
                  <a:srgbClr val="002060"/>
                </a:solidFill>
              </a:rPr>
              <a:t>Arial 80 fet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B6426EF-1B3D-9943-BF06-7D7DC2FC2B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295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gramm Kreis Typ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F8C62A-4B23-CE45-B7AA-54E9CA5DA9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-332898"/>
            <a:ext cx="12268148" cy="19883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iagrammtyp weiß auf gelb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1" smtClean="0">
                <a:solidFill>
                  <a:schemeClr val="bg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55D0E25-9961-8043-AA46-3AC558D78E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58944" y="547689"/>
            <a:ext cx="4244486" cy="1427391"/>
          </a:xfrm>
          <a:prstGeom prst="rect">
            <a:avLst/>
          </a:prstGeom>
        </p:spPr>
      </p:pic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DF168C96-70C0-F34C-A975-633C6C126D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8"/>
            <a:ext cx="7830000" cy="6527007"/>
          </a:xfrm>
        </p:spPr>
        <p:txBody>
          <a:bodyPr/>
          <a:lstStyle>
            <a:lvl1pPr marL="428625" indent="-428625">
              <a:buFont typeface="Arial" panose="020B0604020202020204" pitchFamily="34" charset="0"/>
              <a:buChar char="•"/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extformat bearbeiten</a:t>
            </a:r>
          </a:p>
          <a:p>
            <a:r>
              <a:rPr lang="de-DE"/>
              <a:t>Zweite Ebene
Dritte Ebene</a:t>
            </a:r>
          </a:p>
        </p:txBody>
      </p:sp>
    </p:spTree>
    <p:extLst>
      <p:ext uri="{BB962C8B-B14F-4D97-AF65-F5344CB8AC3E}">
        <p14:creationId xmlns:p14="http://schemas.microsoft.com/office/powerpoint/2010/main" val="32710565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42857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74225-EF49-6348-8C26-43C1B6383A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941841689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7772400" imgH="10058400" progId="TCLayout.ActiveDocument.1">
                  <p:embed/>
                </p:oleObj>
              </mc:Choice>
              <mc:Fallback>
                <p:oleObj name="think-cell Folie" r:id="rId23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74225-EF49-6348-8C26-43C1B6383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41E4E78-D2FB-3C4E-8A7C-9A37C9024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940A25-EF3D-C84E-A40B-ED09A649A6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16338" y="2738438"/>
            <a:ext cx="15890123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Aufzählung Ebene 1</a:t>
            </a:r>
          </a:p>
          <a:p>
            <a:pPr lvl="1">
              <a:buFont typeface="Symbol" pitchFamily="2" charset="2"/>
              <a:buChar char="-"/>
            </a:pPr>
            <a:r>
              <a:rPr lang="de-DE"/>
              <a:t>Aufzählung Ebene 2</a:t>
            </a:r>
          </a:p>
          <a:p>
            <a:pPr lvl="2">
              <a:buFont typeface="Wingdings" pitchFamily="2" charset="2"/>
              <a:buChar char="§"/>
            </a:pPr>
            <a:r>
              <a:rPr lang="de-DE"/>
              <a:t>Aufzählung Ebene 3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233BDC-86F5-7449-BC8F-7F298F4C1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Rahmenstrategie 2021 - Name Referent*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9A5F7AE-597D-E04B-8DFD-F573619ABB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06363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8F67B18-44D9-150C-A90C-80E42671A3B2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rcRect/>
          <a:stretch/>
        </p:blipFill>
        <p:spPr>
          <a:xfrm>
            <a:off x="13158944" y="662091"/>
            <a:ext cx="4244486" cy="119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784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ftr="0" dt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28625" indent="-428625" algn="l" defTabSz="1371600" rtl="0" eaLnBrk="1" latinLnBrk="0" hangingPunct="1">
        <a:lnSpc>
          <a:spcPct val="110000"/>
        </a:lnSpc>
        <a:spcBef>
          <a:spcPts val="1500"/>
        </a:spcBef>
        <a:buFont typeface="Arial" panose="020B0604020202020204" pitchFamily="34" charset="0"/>
        <a:buChar char="•"/>
        <a:defRPr sz="27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028700" indent="-342900" algn="l" defTabSz="1371600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7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595">
          <p15:clr>
            <a:srgbClr val="F26B43"/>
          </p15:clr>
        </p15:guide>
        <p15:guide id="4" pos="71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leitfaden.kommunaler-klimaschutz.de/wp-content/uploads/2023/03/Praxisleitfaden_2023_Massnahme_Energiemanagement.pdf" TargetMode="External"/><Relationship Id="rId3" Type="http://schemas.openxmlformats.org/officeDocument/2006/relationships/image" Target="../media/image13.png"/><Relationship Id="rId7" Type="http://schemas.openxmlformats.org/officeDocument/2006/relationships/hyperlink" Target="https://commons.wikimedia.org/wiki/File:Mehr_Sicherheit_und_Effizienz_an_Flugh%C3%A4fen_(25327683788).jpeg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png"/><Relationship Id="rId5" Type="http://schemas.openxmlformats.org/officeDocument/2006/relationships/image" Target="../media/image15.svg"/><Relationship Id="rId10" Type="http://schemas.openxmlformats.org/officeDocument/2006/relationships/hyperlink" Target="https://www.mannheim.de/de/stadt-gestalten/planungskonzepte/flaechennutzungsplanung/flaechennutzungsplan-windenergie" TargetMode="External"/><Relationship Id="rId4" Type="http://schemas.openxmlformats.org/officeDocument/2006/relationships/image" Target="../media/image14.png"/><Relationship Id="rId9" Type="http://schemas.openxmlformats.org/officeDocument/2006/relationships/hyperlink" Target="https://www.klimaschutz.de/de/foerderung/foerderprogramme/kommunalrichtlinie/implementierung-und-erweiterung-eines-energiemanagements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3.png"/><Relationship Id="rId7" Type="http://schemas.openxmlformats.org/officeDocument/2006/relationships/hyperlink" Target="https://www.mannheim.de/de/stadt-gestalten/planungskonzepte/flaechennutzungsplanung/flaechennutzungsplan-windenergie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umweltbundesamt.de/sites/default/files/medien/1410/publikationen/2022-12-15_cc_04-2022_klimaschutzpotenziale_in_kommunen.pdf" TargetMode="External"/><Relationship Id="rId5" Type="http://schemas.openxmlformats.org/officeDocument/2006/relationships/hyperlink" Target="https://commons.wikimedia.org/wiki/File:Kampagne_%C3%96G%C3%96G_Karten_7.jpg" TargetMode="External"/><Relationship Id="rId4" Type="http://schemas.openxmlformats.org/officeDocument/2006/relationships/image" Target="../media/image25.png"/><Relationship Id="rId9" Type="http://schemas.openxmlformats.org/officeDocument/2006/relationships/image" Target="../media/image1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hyperlink" Target="https://commons.wikimedia.org/wiki/File:Solar_panels_at_the_Raventhorpe_Solar_Energy_Park_-_geograph.org.uk_-_5094499.jpg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3.png"/><Relationship Id="rId7" Type="http://schemas.openxmlformats.org/officeDocument/2006/relationships/hyperlink" Target="https://www.mannheim.de/de/stadt-gestalten/planungskonzepte/flaechennutzungsplanung/flaechennutzungsplan-windenergie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ons.wikimedia.org/wiki/File:Kampagne_%C3%96G%C3%96G_Karten_7.jpg" TargetMode="External"/><Relationship Id="rId5" Type="http://schemas.openxmlformats.org/officeDocument/2006/relationships/hyperlink" Target="https://commons.wikimedia.org/wiki/File:Agrivoltaics_pilot_plant" TargetMode="External"/><Relationship Id="rId4" Type="http://schemas.openxmlformats.org/officeDocument/2006/relationships/image" Target="../media/image26.png"/><Relationship Id="rId9" Type="http://schemas.openxmlformats.org/officeDocument/2006/relationships/image" Target="../media/image15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ons.wikimedia.org/wiki/File:Kampagne_%C3%96G%C3%96G_Karten_7.jpg" TargetMode="External"/><Relationship Id="rId3" Type="http://schemas.openxmlformats.org/officeDocument/2006/relationships/image" Target="../media/image13.png"/><Relationship Id="rId7" Type="http://schemas.openxmlformats.org/officeDocument/2006/relationships/hyperlink" Target="https://commons.wikimedia.org/wiki/File:Photovoltaik_energypoint.jpg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jpeg"/><Relationship Id="rId11" Type="http://schemas.openxmlformats.org/officeDocument/2006/relationships/hyperlink" Target="https://www.mannheim.de/de/stadt-gestalten/planungskonzepte/flaechennutzungsplanung/flaechennutzungsplan-windenergie" TargetMode="External"/><Relationship Id="rId5" Type="http://schemas.openxmlformats.org/officeDocument/2006/relationships/image" Target="../media/image15.svg"/><Relationship Id="rId10" Type="http://schemas.openxmlformats.org/officeDocument/2006/relationships/hyperlink" Target="https://www.solarserver.de/2021/01/26/wie-solarenergie-zur-pflicht-wird/" TargetMode="External"/><Relationship Id="rId4" Type="http://schemas.openxmlformats.org/officeDocument/2006/relationships/image" Target="../media/image14.png"/><Relationship Id="rId9" Type="http://schemas.openxmlformats.org/officeDocument/2006/relationships/hyperlink" Target="https://www.umweltbundesamt.de/sites/default/files/medien/1410/publikationen/2022-12-15_cc_04-2022_klimaschutzpotenziale_in_kommunen.pdf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leitfaden.kommunaler-klimaschutz.de/wp-content/uploads/2023/03/Praxisleitfaden_2023_Massnahme_Potenzialanalyse_Erneuerbare_Energien-1.pdf" TargetMode="External"/><Relationship Id="rId13" Type="http://schemas.openxmlformats.org/officeDocument/2006/relationships/hyperlink" Target="https://klimaweg.net/best-practice/buergerwindpark-sailershaeuser-wald/" TargetMode="External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18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svg"/><Relationship Id="rId11" Type="http://schemas.openxmlformats.org/officeDocument/2006/relationships/image" Target="../media/image17.png"/><Relationship Id="rId5" Type="http://schemas.openxmlformats.org/officeDocument/2006/relationships/image" Target="../media/image14.png"/><Relationship Id="rId10" Type="http://schemas.openxmlformats.org/officeDocument/2006/relationships/hyperlink" Target="https://www.mannheim.de/de/stadt-gestalten/planungskonzepte/flaechennutzungsplanung/flaechennutzungsplan-windenergie" TargetMode="External"/><Relationship Id="rId4" Type="http://schemas.openxmlformats.org/officeDocument/2006/relationships/image" Target="../media/image13.png"/><Relationship Id="rId9" Type="http://schemas.openxmlformats.org/officeDocument/2006/relationships/hyperlink" Target="https://www.umweltbundesamt.de/sites/default/files/medien/1410/publikationen/2022-12-15_cc_04-2022_klimaschutzpotenziale_in_kommunen.pdf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leitfaden.kommunaler-klimaschutz.de/wp-content/uploads/2023/03/Praxisleitfaden_2023_Massnahme_Potenzialanalyse_Erneuerbare_Energien-1.pdf" TargetMode="External"/><Relationship Id="rId3" Type="http://schemas.openxmlformats.org/officeDocument/2006/relationships/image" Target="../media/image13.png"/><Relationship Id="rId7" Type="http://schemas.openxmlformats.org/officeDocument/2006/relationships/hyperlink" Target="https://commons.wikimedia.org/wiki/File:Solar_panels_at_the_Raventhorpe_Solar_Energy_Park_-_geograph.org.uk_-_5094499.jpg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5.svg"/><Relationship Id="rId10" Type="http://schemas.openxmlformats.org/officeDocument/2006/relationships/hyperlink" Target="https://www.mannheim.de/de/stadt-gestalten/planungskonzepte/flaechennutzungsplanung/flaechennutzungsplan-windenergie" TargetMode="External"/><Relationship Id="rId4" Type="http://schemas.openxmlformats.org/officeDocument/2006/relationships/image" Target="../media/image14.png"/><Relationship Id="rId9" Type="http://schemas.openxmlformats.org/officeDocument/2006/relationships/hyperlink" Target="https://www.marburg.de/portal/seiten/solarpotenzialanalyse-fuer-marburg-ausbau-erneuerbarer-energien-900002973-23001.html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umweltbundesamt.de/sites/default/files/medien/1410/publikationen/2022-12-15_cc_04-2022_klimaschutzpotenziale_in_kommunen.pdf" TargetMode="External"/><Relationship Id="rId3" Type="http://schemas.openxmlformats.org/officeDocument/2006/relationships/image" Target="../media/image13.png"/><Relationship Id="rId7" Type="http://schemas.openxmlformats.org/officeDocument/2006/relationships/hyperlink" Target="https://commons.wikimedia.org/wiki/File:Hard-Schule_am_See_PV-Anlage-Dach-01.jpg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jpe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hyperlink" Target="https://www.mannheim.de/de/stadt-gestalten/planungskonzepte/flaechennutzungsplanung/flaechennutzungsplan-windenergie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umweltbundesamt.de/umwelttipps-fuer-den-alltag/haushalt-wohnen/oekostrom#so-konnen-sie-ihre-stromnutzung-umweltbewusster-gestalten" TargetMode="External"/><Relationship Id="rId3" Type="http://schemas.openxmlformats.org/officeDocument/2006/relationships/image" Target="../media/image13.png"/><Relationship Id="rId7" Type="http://schemas.openxmlformats.org/officeDocument/2006/relationships/hyperlink" Target="https://commons.wikimedia.org/wiki/File:2017-11-20_(227)_Electricity_pylon_in_Pottenbrunn.jpg" TargetMode="External"/><Relationship Id="rId12" Type="http://schemas.openxmlformats.org/officeDocument/2006/relationships/hyperlink" Target="https://klimaweg.net/best-practice/100-prozent-oekostrom-fuer-kommunale-liegenschaften-im-landkreis-lahr/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11" Type="http://schemas.openxmlformats.org/officeDocument/2006/relationships/image" Target="../media/image18.svg"/><Relationship Id="rId5" Type="http://schemas.openxmlformats.org/officeDocument/2006/relationships/image" Target="../media/image15.svg"/><Relationship Id="rId10" Type="http://schemas.openxmlformats.org/officeDocument/2006/relationships/image" Target="../media/image17.png"/><Relationship Id="rId4" Type="http://schemas.openxmlformats.org/officeDocument/2006/relationships/image" Target="../media/image14.png"/><Relationship Id="rId9" Type="http://schemas.openxmlformats.org/officeDocument/2006/relationships/hyperlink" Target="https://www.mannheim.de/de/stadt-gestalten/planungskonzepte/flaechennutzungsplanung/flaechennutzungsplan-windenergie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olarwatt.de/ratgeber/solarkataster" TargetMode="External"/><Relationship Id="rId13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hyperlink" Target="https://erlangen.de/uwao-api/faila/files/bypath/Dokumente/PDF-Formulare/31_Umweltamt/31klima_langversion_fahrplan_klima-aufbruch_erlangen.pdf?tn=1&amp;q=normal&amp;s=list" TargetMode="External"/><Relationship Id="rId12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service.osnabrueck.de/dienstleistungen/-/egov-bis-detail/dokument/596136/download?_9_WAR_vrportlet_priv_r_p_action=bisview-dienstleistung-show" TargetMode="External"/><Relationship Id="rId11" Type="http://schemas.openxmlformats.org/officeDocument/2006/relationships/image" Target="../media/image15.svg"/><Relationship Id="rId5" Type="http://schemas.openxmlformats.org/officeDocument/2006/relationships/hyperlink" Target="https://commons.wikimedia.org/wiki/File:Photovoltaik_energypoint.jpg" TargetMode="External"/><Relationship Id="rId10" Type="http://schemas.openxmlformats.org/officeDocument/2006/relationships/image" Target="../media/image14.png"/><Relationship Id="rId4" Type="http://schemas.openxmlformats.org/officeDocument/2006/relationships/image" Target="../media/image22.jpeg"/><Relationship Id="rId9" Type="http://schemas.openxmlformats.org/officeDocument/2006/relationships/hyperlink" Target="https://www.mannheim.de/de/stadt-gestalten/planungskonzepte/flaechennutzungsplanung/flaechennutzungsplan-windenergie" TargetMode="External"/><Relationship Id="rId14" Type="http://schemas.openxmlformats.org/officeDocument/2006/relationships/hyperlink" Target="https://klimaweg.net/best-practice/foerderprogramm-fuer-pv-ausbau/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backend.repository.difu.de/server/api/core/bitstreams/ed93210e-05d1-45e8-bbbc-cd36c32a704b/content" TargetMode="External"/><Relationship Id="rId3" Type="http://schemas.openxmlformats.org/officeDocument/2006/relationships/image" Target="../media/image13.png"/><Relationship Id="rId7" Type="http://schemas.openxmlformats.org/officeDocument/2006/relationships/hyperlink" Target="https://commons.wikimedia.org/wiki/File:Photovoltaik_energypoint.jpg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jpeg"/><Relationship Id="rId5" Type="http://schemas.openxmlformats.org/officeDocument/2006/relationships/image" Target="../media/image15.svg"/><Relationship Id="rId10" Type="http://schemas.openxmlformats.org/officeDocument/2006/relationships/hyperlink" Target="https://www.mannheim.de/de/stadt-gestalten/planungskonzepte/flaechennutzungsplanung/flaechennutzungsplan-windenergie" TargetMode="External"/><Relationship Id="rId4" Type="http://schemas.openxmlformats.org/officeDocument/2006/relationships/image" Target="../media/image14.png"/><Relationship Id="rId9" Type="http://schemas.openxmlformats.org/officeDocument/2006/relationships/hyperlink" Target="https://leitfaden.kommunaler-klimaschutz.de/wp-content/uploads/2023/03/Praxisleitfaden_2023_Massnahme_Energiedienstleistungen_Beratung.pdf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5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hyperlink" Target="https://commons.wikimedia.org/wiki/File:2017-11-20_(227)_Electricity_pylon_in_Pottenbrunn.jpg" TargetMode="External"/><Relationship Id="rId10" Type="http://schemas.openxmlformats.org/officeDocument/2006/relationships/hyperlink" Target="https://klimaweg.net/best-practice/100-prozent-oekostrom-der-stadtwerke-konstanz/" TargetMode="External"/><Relationship Id="rId4" Type="http://schemas.openxmlformats.org/officeDocument/2006/relationships/image" Target="../media/image23.jpeg"/><Relationship Id="rId9" Type="http://schemas.openxmlformats.org/officeDocument/2006/relationships/image" Target="../media/image1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58DE3F4-531E-B80B-2C92-DFF4C68D8E9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LocalZero</a:t>
            </a:r>
            <a:r>
              <a:rPr lang="de-DE" dirty="0"/>
              <a:t> Top-Maßnahmen Strom  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1D94D9C2-619F-69A2-8E2A-704228A61B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42986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679550" y="429846"/>
            <a:ext cx="1725138" cy="1190179"/>
          </a:xfrm>
          <a:custGeom>
            <a:avLst/>
            <a:gdLst/>
            <a:ahLst/>
            <a:cxnLst/>
            <a:rect l="l" t="t" r="r" b="b"/>
            <a:pathLst>
              <a:path w="1725138" h="1190179">
                <a:moveTo>
                  <a:pt x="0" y="0"/>
                </a:moveTo>
                <a:lnTo>
                  <a:pt x="1725138" y="0"/>
                </a:lnTo>
                <a:lnTo>
                  <a:pt x="1725138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1597380" cy="339603"/>
            <a:chOff x="0" y="0"/>
            <a:chExt cx="2129840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129840" cy="452804"/>
              <a:chOff x="0" y="0"/>
              <a:chExt cx="591622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591622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591622" h="125779">
                    <a:moveTo>
                      <a:pt x="0" y="0"/>
                    </a:moveTo>
                    <a:lnTo>
                      <a:pt x="591622" y="0"/>
                    </a:lnTo>
                    <a:lnTo>
                      <a:pt x="591622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591622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51509" y="18756"/>
              <a:ext cx="202682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Strom-Sektor</a:t>
              </a: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1" name="Group 21"/>
          <p:cNvGrpSpPr/>
          <p:nvPr/>
        </p:nvGrpSpPr>
        <p:grpSpPr>
          <a:xfrm>
            <a:off x="515733" y="9407587"/>
            <a:ext cx="2463783" cy="440591"/>
            <a:chOff x="0" y="0"/>
            <a:chExt cx="696893" cy="124623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TextBox 23"/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grpSp>
        <p:nvGrpSpPr>
          <p:cNvPr id="27" name="Group 27"/>
          <p:cNvGrpSpPr/>
          <p:nvPr/>
        </p:nvGrpSpPr>
        <p:grpSpPr>
          <a:xfrm>
            <a:off x="3103341" y="9407587"/>
            <a:ext cx="1996897" cy="440591"/>
            <a:chOff x="0" y="0"/>
            <a:chExt cx="564832" cy="124623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564832" cy="124623"/>
            </a:xfrm>
            <a:custGeom>
              <a:avLst/>
              <a:gdLst/>
              <a:ahLst/>
              <a:cxnLst/>
              <a:rect l="l" t="t" r="r" b="b"/>
              <a:pathLst>
                <a:path w="564832" h="124623">
                  <a:moveTo>
                    <a:pt x="62312" y="0"/>
                  </a:moveTo>
                  <a:lnTo>
                    <a:pt x="502520" y="0"/>
                  </a:lnTo>
                  <a:cubicBezTo>
                    <a:pt x="536934" y="0"/>
                    <a:pt x="564832" y="27898"/>
                    <a:pt x="564832" y="62312"/>
                  </a:cubicBezTo>
                  <a:lnTo>
                    <a:pt x="564832" y="62312"/>
                  </a:lnTo>
                  <a:cubicBezTo>
                    <a:pt x="564832" y="78838"/>
                    <a:pt x="558267" y="94687"/>
                    <a:pt x="546581" y="106373"/>
                  </a:cubicBezTo>
                  <a:cubicBezTo>
                    <a:pt x="534896" y="118058"/>
                    <a:pt x="519046" y="124623"/>
                    <a:pt x="502520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Box 29"/>
            <p:cNvSpPr txBox="1"/>
            <p:nvPr/>
          </p:nvSpPr>
          <p:spPr>
            <a:xfrm>
              <a:off x="0" y="-28575"/>
              <a:ext cx="564832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1" name="Freeform 31"/>
          <p:cNvSpPr/>
          <p:nvPr/>
        </p:nvSpPr>
        <p:spPr>
          <a:xfrm>
            <a:off x="3247403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4" name="Freeform 34"/>
          <p:cNvSpPr/>
          <p:nvPr/>
        </p:nvSpPr>
        <p:spPr>
          <a:xfrm>
            <a:off x="639558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8" name="TextBox 38"/>
          <p:cNvSpPr txBox="1"/>
          <p:nvPr/>
        </p:nvSpPr>
        <p:spPr>
          <a:xfrm>
            <a:off x="911172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Einfache Umsetzbarkeit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3528350" y="9500566"/>
            <a:ext cx="145174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Wirtschaftlichkeit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517221" y="2150128"/>
            <a:ext cx="12097407" cy="26664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as kommunale Energiemanagement ermöglicht es, den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verbrauch in kommunalen Liegenschaften</a:t>
            </a:r>
          </a:p>
          <a:p>
            <a:pPr algn="l">
              <a:lnSpc>
                <a:spcPts val="3039"/>
              </a:lnSpc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 überwach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rategische Energiesparpläne für den Gebäudebestand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 entwickeln. Diese Maßnahme wird durch die Nationale Klimaschutzinitiative (NKI) gefördert.</a:t>
            </a:r>
          </a:p>
          <a:p>
            <a:pPr algn="l">
              <a:lnSpc>
                <a:spcPts val="3039"/>
              </a:lnSpc>
            </a:pPr>
            <a:endParaRPr lang="de-DE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Kommune bestimmt (oder stellt ein) </a:t>
            </a:r>
            <a:r>
              <a:rPr lang="de-DE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e:n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de-DE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beautragte:n</a:t>
            </a:r>
            <a:endParaRPr lang="de-DE" sz="1899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 Ort muss in den Liegenschaften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fluss auf den optimierten technischen Anlagenbetrieb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nommen werden (in Schulen, Verwaltungsgebäuden etc.)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13469326" y="6989092"/>
            <a:ext cx="4203003" cy="18969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füh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gestell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m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bäudemanagement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6979886" y="9541473"/>
            <a:ext cx="824501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8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13636773" y="5715305"/>
            <a:ext cx="4035556" cy="22076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900" dirty="0">
              <a:solidFill>
                <a:srgbClr val="112540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49" name="Group 49"/>
          <p:cNvGrpSpPr/>
          <p:nvPr/>
        </p:nvGrpSpPr>
        <p:grpSpPr>
          <a:xfrm>
            <a:off x="2636084" y="825897"/>
            <a:ext cx="11894274" cy="884858"/>
            <a:chOff x="0" y="-38100"/>
            <a:chExt cx="15859032" cy="1179810"/>
          </a:xfrm>
        </p:grpSpPr>
        <p:sp>
          <p:nvSpPr>
            <p:cNvPr id="50" name="TextBox 50"/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inricht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ine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ommunal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nergiemanagements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1" name="TextBox 51"/>
            <p:cNvSpPr txBox="1"/>
            <p:nvPr/>
          </p:nvSpPr>
          <p:spPr>
            <a:xfrm>
              <a:off x="0" y="-38100"/>
              <a:ext cx="1495411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8</a:t>
              </a:r>
            </a:p>
          </p:txBody>
        </p:sp>
      </p:grpSp>
      <p:grpSp>
        <p:nvGrpSpPr>
          <p:cNvPr id="61" name="Group 55">
            <a:extLst>
              <a:ext uri="{FF2B5EF4-FFF2-40B4-BE49-F238E27FC236}">
                <a16:creationId xmlns:a16="http://schemas.microsoft.com/office/drawing/2014/main" id="{1A2021D9-F35C-107C-FDE3-B69F59C1B4E5}"/>
              </a:ext>
            </a:extLst>
          </p:cNvPr>
          <p:cNvGrpSpPr/>
          <p:nvPr/>
        </p:nvGrpSpPr>
        <p:grpSpPr>
          <a:xfrm>
            <a:off x="-15767" y="2291998"/>
            <a:ext cx="177228" cy="7556180"/>
            <a:chOff x="-34161" y="24949"/>
            <a:chExt cx="236303" cy="10074908"/>
          </a:xfrm>
        </p:grpSpPr>
        <p:sp>
          <p:nvSpPr>
            <p:cNvPr id="62" name="TextBox 56">
              <a:extLst>
                <a:ext uri="{FF2B5EF4-FFF2-40B4-BE49-F238E27FC236}">
                  <a16:creationId xmlns:a16="http://schemas.microsoft.com/office/drawing/2014/main" id="{7614C5BE-5CF4-FE5A-5B04-D4780765D840}"/>
                </a:ext>
              </a:extLst>
            </p:cNvPr>
            <p:cNvSpPr txBox="1"/>
            <p:nvPr/>
          </p:nvSpPr>
          <p:spPr>
            <a:xfrm rot="16200000">
              <a:off x="-4475130" y="4477619"/>
              <a:ext cx="9128820" cy="22347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K:KK 2023: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ales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nergiemanagement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örderung NKI</a:t>
              </a:r>
              <a:endParaRPr lang="en-US" sz="900" dirty="0">
                <a:solidFill>
                  <a:srgbClr val="112540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10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3" name="TextBox 57">
              <a:extLst>
                <a:ext uri="{FF2B5EF4-FFF2-40B4-BE49-F238E27FC236}">
                  <a16:creationId xmlns:a16="http://schemas.microsoft.com/office/drawing/2014/main" id="{2F546516-25AF-E811-263B-087DF8A2EFDF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12" name="TextBox 45">
            <a:extLst>
              <a:ext uri="{FF2B5EF4-FFF2-40B4-BE49-F238E27FC236}">
                <a16:creationId xmlns:a16="http://schemas.microsoft.com/office/drawing/2014/main" id="{B578A795-0CFF-A56A-9F50-5421F480D93A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ffizienz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duktio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brauchs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10CB4F2-8F52-E791-6CAE-FF41D1120F30}"/>
              </a:ext>
            </a:extLst>
          </p:cNvPr>
          <p:cNvGrpSpPr/>
          <p:nvPr/>
        </p:nvGrpSpPr>
        <p:grpSpPr>
          <a:xfrm>
            <a:off x="615671" y="7114705"/>
            <a:ext cx="188501" cy="188501"/>
            <a:chOff x="0" y="0"/>
            <a:chExt cx="812800" cy="812800"/>
          </a:xfrm>
        </p:grpSpPr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59961018-3246-33FB-51A9-14AB1647E447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AED8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TextBox 14">
              <a:extLst>
                <a:ext uri="{FF2B5EF4-FFF2-40B4-BE49-F238E27FC236}">
                  <a16:creationId xmlns:a16="http://schemas.microsoft.com/office/drawing/2014/main" id="{E000A67E-E468-5A93-5F73-6B9F694F9BE3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7508301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679550" y="429846"/>
            <a:ext cx="1725138" cy="1190179"/>
          </a:xfrm>
          <a:custGeom>
            <a:avLst/>
            <a:gdLst/>
            <a:ahLst/>
            <a:cxnLst/>
            <a:rect l="l" t="t" r="r" b="b"/>
            <a:pathLst>
              <a:path w="1725138" h="1190179">
                <a:moveTo>
                  <a:pt x="0" y="0"/>
                </a:moveTo>
                <a:lnTo>
                  <a:pt x="1725138" y="0"/>
                </a:lnTo>
                <a:lnTo>
                  <a:pt x="1725138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1597380" cy="339603"/>
            <a:chOff x="0" y="0"/>
            <a:chExt cx="2129840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129840" cy="452804"/>
              <a:chOff x="0" y="0"/>
              <a:chExt cx="591622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591622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591622" h="125779">
                    <a:moveTo>
                      <a:pt x="0" y="0"/>
                    </a:moveTo>
                    <a:lnTo>
                      <a:pt x="591622" y="0"/>
                    </a:lnTo>
                    <a:lnTo>
                      <a:pt x="591622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591622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51509" y="18756"/>
              <a:ext cx="202682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Strom-Sektor</a:t>
              </a: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2" name="TextBox 42"/>
          <p:cNvSpPr txBox="1"/>
          <p:nvPr/>
        </p:nvSpPr>
        <p:spPr>
          <a:xfrm>
            <a:off x="517221" y="2150128"/>
            <a:ext cx="12097407" cy="26664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Kommune kann durch verschieden Kampagnen den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bau der erneuerbaren Energien und die Rate der energetischen Sanierung beschleunig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Dazu zählen z.B.</a:t>
            </a:r>
          </a:p>
          <a:p>
            <a:pPr algn="l">
              <a:lnSpc>
                <a:spcPts val="3039"/>
              </a:lnSpc>
            </a:pPr>
            <a:endParaRPr lang="de-DE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 Teilnahme am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„</a:t>
            </a:r>
            <a:r>
              <a:rPr lang="de-DE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attbewerb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“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stützung bei </a:t>
            </a:r>
            <a:r>
              <a:rPr lang="de-DE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olarparties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olarselbstbauworkshops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z.B. durch Bereitstellung von Räumlichkeiten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achkräftekampagne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zusammen mit IHK/HWK für Beschleunigung Ausbau EE 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4" name="TextBox 44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13469326" y="6989092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werke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HK/ HWK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ifö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ivilgesellschaftli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Gruppen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6979886" y="9541473"/>
            <a:ext cx="824501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9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13636773" y="5715305"/>
            <a:ext cx="4035556" cy="4515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300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Beispiel-Kampagne</a:t>
            </a:r>
            <a:endParaRPr lang="en-US" sz="1300" dirty="0">
              <a:solidFill>
                <a:srgbClr val="112540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900" dirty="0">
              <a:solidFill>
                <a:srgbClr val="112540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49" name="Group 49"/>
          <p:cNvGrpSpPr/>
          <p:nvPr/>
        </p:nvGrpSpPr>
        <p:grpSpPr>
          <a:xfrm>
            <a:off x="2636084" y="825897"/>
            <a:ext cx="11894274" cy="884858"/>
            <a:chOff x="0" y="-38100"/>
            <a:chExt cx="15859032" cy="1179810"/>
          </a:xfrm>
        </p:grpSpPr>
        <p:sp>
          <p:nvSpPr>
            <p:cNvPr id="50" name="TextBox 50"/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Start von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wirksam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ampagn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1" name="TextBox 51"/>
            <p:cNvSpPr txBox="1"/>
            <p:nvPr/>
          </p:nvSpPr>
          <p:spPr>
            <a:xfrm>
              <a:off x="0" y="-38100"/>
              <a:ext cx="1495411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9</a:t>
              </a:r>
            </a:p>
          </p:txBody>
        </p:sp>
      </p:grpSp>
      <p:grpSp>
        <p:nvGrpSpPr>
          <p:cNvPr id="61" name="Group 55">
            <a:extLst>
              <a:ext uri="{FF2B5EF4-FFF2-40B4-BE49-F238E27FC236}">
                <a16:creationId xmlns:a16="http://schemas.microsoft.com/office/drawing/2014/main" id="{1A2021D9-F35C-107C-FDE3-B69F59C1B4E5}"/>
              </a:ext>
            </a:extLst>
          </p:cNvPr>
          <p:cNvGrpSpPr/>
          <p:nvPr/>
        </p:nvGrpSpPr>
        <p:grpSpPr>
          <a:xfrm>
            <a:off x="-15767" y="2291998"/>
            <a:ext cx="177228" cy="7556180"/>
            <a:chOff x="-34161" y="24949"/>
            <a:chExt cx="236303" cy="10074908"/>
          </a:xfrm>
        </p:grpSpPr>
        <p:sp>
          <p:nvSpPr>
            <p:cNvPr id="62" name="TextBox 56">
              <a:extLst>
                <a:ext uri="{FF2B5EF4-FFF2-40B4-BE49-F238E27FC236}">
                  <a16:creationId xmlns:a16="http://schemas.microsoft.com/office/drawing/2014/main" id="{7614C5BE-5CF4-FE5A-5B04-D4780765D840}"/>
                </a:ext>
              </a:extLst>
            </p:cNvPr>
            <p:cNvSpPr txBox="1"/>
            <p:nvPr/>
          </p:nvSpPr>
          <p:spPr>
            <a:xfrm rot="16200000">
              <a:off x="-4475130" y="4477619"/>
              <a:ext cx="9128820" cy="22347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BA 2022: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endParaRPr lang="en-US" sz="900" dirty="0">
                <a:solidFill>
                  <a:srgbClr val="112540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7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3" name="TextBox 57">
              <a:extLst>
                <a:ext uri="{FF2B5EF4-FFF2-40B4-BE49-F238E27FC236}">
                  <a16:creationId xmlns:a16="http://schemas.microsoft.com/office/drawing/2014/main" id="{2F546516-25AF-E811-263B-087DF8A2EFDF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12" name="TextBox 45">
            <a:extLst>
              <a:ext uri="{FF2B5EF4-FFF2-40B4-BE49-F238E27FC236}">
                <a16:creationId xmlns:a16="http://schemas.microsoft.com/office/drawing/2014/main" id="{B578A795-0CFF-A56A-9F50-5421F480D93A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14" name="Group 12">
            <a:extLst>
              <a:ext uri="{FF2B5EF4-FFF2-40B4-BE49-F238E27FC236}">
                <a16:creationId xmlns:a16="http://schemas.microsoft.com/office/drawing/2014/main" id="{9D34AA87-C542-0B17-3717-70371D5E448E}"/>
              </a:ext>
            </a:extLst>
          </p:cNvPr>
          <p:cNvGrpSpPr/>
          <p:nvPr/>
        </p:nvGrpSpPr>
        <p:grpSpPr>
          <a:xfrm>
            <a:off x="615671" y="7117413"/>
            <a:ext cx="188501" cy="188501"/>
            <a:chOff x="0" y="0"/>
            <a:chExt cx="812800" cy="812800"/>
          </a:xfrm>
        </p:grpSpPr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DD1738B8-E953-12F7-032F-4623B41B81BF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TextBox 14">
              <a:extLst>
                <a:ext uri="{FF2B5EF4-FFF2-40B4-BE49-F238E27FC236}">
                  <a16:creationId xmlns:a16="http://schemas.microsoft.com/office/drawing/2014/main" id="{4D38CD00-626C-18B5-5BF3-C29F6E9FDB16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grpSp>
        <p:nvGrpSpPr>
          <p:cNvPr id="13" name="Group 15">
            <a:extLst>
              <a:ext uri="{FF2B5EF4-FFF2-40B4-BE49-F238E27FC236}">
                <a16:creationId xmlns:a16="http://schemas.microsoft.com/office/drawing/2014/main" id="{AE327874-D910-915C-F89A-96A49402D1C0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45" name="Freeform 16">
              <a:extLst>
                <a:ext uri="{FF2B5EF4-FFF2-40B4-BE49-F238E27FC236}">
                  <a16:creationId xmlns:a16="http://schemas.microsoft.com/office/drawing/2014/main" id="{CFCCB8A8-432C-120D-068D-56DCD224451C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TextBox 17">
              <a:extLst>
                <a:ext uri="{FF2B5EF4-FFF2-40B4-BE49-F238E27FC236}">
                  <a16:creationId xmlns:a16="http://schemas.microsoft.com/office/drawing/2014/main" id="{4B0B06D2-86DB-FBC0-1AF6-5AA6385E63BA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5" name="Freeform 30">
            <a:extLst>
              <a:ext uri="{FF2B5EF4-FFF2-40B4-BE49-F238E27FC236}">
                <a16:creationId xmlns:a16="http://schemas.microsoft.com/office/drawing/2014/main" id="{3E331001-0FEF-1FD4-9F50-2F2A1783C691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6" name="TextBox 41">
            <a:extLst>
              <a:ext uri="{FF2B5EF4-FFF2-40B4-BE49-F238E27FC236}">
                <a16:creationId xmlns:a16="http://schemas.microsoft.com/office/drawing/2014/main" id="{2AE6F00B-7034-B9B8-EA18-821D406B4A7D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46097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679550" y="429846"/>
            <a:ext cx="1725138" cy="1190179"/>
          </a:xfrm>
          <a:custGeom>
            <a:avLst/>
            <a:gdLst/>
            <a:ahLst/>
            <a:cxnLst/>
            <a:rect l="l" t="t" r="r" b="b"/>
            <a:pathLst>
              <a:path w="1725138" h="1190179">
                <a:moveTo>
                  <a:pt x="0" y="0"/>
                </a:moveTo>
                <a:lnTo>
                  <a:pt x="1725138" y="0"/>
                </a:lnTo>
                <a:lnTo>
                  <a:pt x="1725138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1597380" cy="339603"/>
            <a:chOff x="0" y="0"/>
            <a:chExt cx="2129840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129840" cy="452804"/>
              <a:chOff x="0" y="0"/>
              <a:chExt cx="591622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591622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591622" h="125779">
                    <a:moveTo>
                      <a:pt x="0" y="0"/>
                    </a:moveTo>
                    <a:lnTo>
                      <a:pt x="591622" y="0"/>
                    </a:lnTo>
                    <a:lnTo>
                      <a:pt x="591622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591622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51509" y="18756"/>
              <a:ext cx="202682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Strom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11" name="Group 11"/>
          <p:cNvGrpSpPr/>
          <p:nvPr/>
        </p:nvGrpSpPr>
        <p:grpSpPr>
          <a:xfrm>
            <a:off x="615671" y="7151017"/>
            <a:ext cx="188501" cy="188501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TextBox 16"/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grpSp>
        <p:nvGrpSpPr>
          <p:cNvPr id="23" name="Group 23"/>
          <p:cNvGrpSpPr/>
          <p:nvPr/>
        </p:nvGrpSpPr>
        <p:grpSpPr>
          <a:xfrm>
            <a:off x="2851277" y="9407587"/>
            <a:ext cx="2934338" cy="440591"/>
            <a:chOff x="0" y="0"/>
            <a:chExt cx="829992" cy="124623"/>
          </a:xfrm>
        </p:grpSpPr>
        <p:sp>
          <p:nvSpPr>
            <p:cNvPr id="24" name="Freeform 24"/>
            <p:cNvSpPr/>
            <p:nvPr/>
          </p:nvSpPr>
          <p:spPr>
            <a:xfrm>
              <a:off x="0" y="0"/>
              <a:ext cx="829992" cy="124623"/>
            </a:xfrm>
            <a:custGeom>
              <a:avLst/>
              <a:gdLst/>
              <a:ahLst/>
              <a:cxnLst/>
              <a:rect l="l" t="t" r="r" b="b"/>
              <a:pathLst>
                <a:path w="829992" h="124623">
                  <a:moveTo>
                    <a:pt x="62312" y="0"/>
                  </a:moveTo>
                  <a:lnTo>
                    <a:pt x="767680" y="0"/>
                  </a:lnTo>
                  <a:cubicBezTo>
                    <a:pt x="784206" y="0"/>
                    <a:pt x="800055" y="6565"/>
                    <a:pt x="811741" y="18251"/>
                  </a:cubicBezTo>
                  <a:cubicBezTo>
                    <a:pt x="823427" y="29936"/>
                    <a:pt x="829992" y="45786"/>
                    <a:pt x="829992" y="62312"/>
                  </a:cubicBezTo>
                  <a:lnTo>
                    <a:pt x="829992" y="62312"/>
                  </a:lnTo>
                  <a:cubicBezTo>
                    <a:pt x="829992" y="96725"/>
                    <a:pt x="802094" y="124623"/>
                    <a:pt x="767680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TextBox 25"/>
            <p:cNvSpPr txBox="1"/>
            <p:nvPr/>
          </p:nvSpPr>
          <p:spPr>
            <a:xfrm>
              <a:off x="0" y="-28575"/>
              <a:ext cx="829992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grpSp>
        <p:nvGrpSpPr>
          <p:cNvPr id="26" name="Group 26"/>
          <p:cNvGrpSpPr/>
          <p:nvPr/>
        </p:nvGrpSpPr>
        <p:grpSpPr>
          <a:xfrm>
            <a:off x="5870153" y="9407587"/>
            <a:ext cx="1996897" cy="440591"/>
            <a:chOff x="0" y="0"/>
            <a:chExt cx="564832" cy="124623"/>
          </a:xfrm>
        </p:grpSpPr>
        <p:sp>
          <p:nvSpPr>
            <p:cNvPr id="27" name="Freeform 27"/>
            <p:cNvSpPr/>
            <p:nvPr/>
          </p:nvSpPr>
          <p:spPr>
            <a:xfrm>
              <a:off x="0" y="0"/>
              <a:ext cx="564832" cy="124623"/>
            </a:xfrm>
            <a:custGeom>
              <a:avLst/>
              <a:gdLst/>
              <a:ahLst/>
              <a:cxnLst/>
              <a:rect l="l" t="t" r="r" b="b"/>
              <a:pathLst>
                <a:path w="564832" h="124623">
                  <a:moveTo>
                    <a:pt x="62312" y="0"/>
                  </a:moveTo>
                  <a:lnTo>
                    <a:pt x="502520" y="0"/>
                  </a:lnTo>
                  <a:cubicBezTo>
                    <a:pt x="536934" y="0"/>
                    <a:pt x="564832" y="27898"/>
                    <a:pt x="564832" y="62312"/>
                  </a:cubicBezTo>
                  <a:lnTo>
                    <a:pt x="564832" y="62312"/>
                  </a:lnTo>
                  <a:cubicBezTo>
                    <a:pt x="564832" y="78838"/>
                    <a:pt x="558267" y="94687"/>
                    <a:pt x="546581" y="106373"/>
                  </a:cubicBezTo>
                  <a:cubicBezTo>
                    <a:pt x="534896" y="118058"/>
                    <a:pt x="519046" y="124623"/>
                    <a:pt x="502520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TextBox 28"/>
            <p:cNvSpPr txBox="1"/>
            <p:nvPr/>
          </p:nvSpPr>
          <p:spPr>
            <a:xfrm>
              <a:off x="0" y="-28575"/>
              <a:ext cx="564832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29" name="Freeform 29"/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0" name="Freeform 30"/>
          <p:cNvSpPr/>
          <p:nvPr/>
        </p:nvSpPr>
        <p:spPr>
          <a:xfrm>
            <a:off x="6014215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1" name="Freeform 31"/>
          <p:cNvSpPr/>
          <p:nvPr/>
        </p:nvSpPr>
        <p:spPr>
          <a:xfrm>
            <a:off x="2984627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3" y="0"/>
                </a:lnTo>
                <a:lnTo>
                  <a:pt x="233323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8" name="TextBox 38"/>
          <p:cNvSpPr txBox="1"/>
          <p:nvPr/>
        </p:nvSpPr>
        <p:spPr>
          <a:xfrm>
            <a:off x="3265575" y="9492785"/>
            <a:ext cx="2365114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Benefits für die Allgemeinheit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6295162" y="9500566"/>
            <a:ext cx="145174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Wirtschaftlichkeit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Öffentliche Wirkung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517221" y="2150128"/>
            <a:ext cx="12097407" cy="28432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199"/>
              </a:lnSpc>
            </a:pP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genossenschaften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önnen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900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ichtige</a:t>
            </a:r>
            <a:r>
              <a:rPr lang="en-US" sz="1900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900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r>
              <a:rPr lang="en-US" sz="1900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ür den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trieb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neuerbaren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rom- und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ärmeanlagen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ein.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ßerdem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ördert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(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inanzielle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teiligung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völkerung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</a:t>
            </a:r>
            <a:r>
              <a:rPr lang="en-US" sz="1900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Akzeptanz</a:t>
            </a:r>
            <a:r>
              <a:rPr lang="en-US" sz="1900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für </a:t>
            </a:r>
            <a:r>
              <a:rPr lang="en-US" sz="1900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ergiewendeprojekte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</a:p>
          <a:p>
            <a:pPr algn="l">
              <a:lnSpc>
                <a:spcPts val="3199"/>
              </a:lnSpc>
            </a:pPr>
            <a:endParaRPr lang="en-US" sz="1900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31796" lvl="1" indent="-215898" algn="l">
              <a:lnSpc>
                <a:spcPts val="3199"/>
              </a:lnSpc>
              <a:buFont typeface="Arial"/>
              <a:buChar char="•"/>
            </a:pP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e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.B.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in Form der Stadtwerke)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ann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n Aufbau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er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genossenschaft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</a:t>
            </a:r>
            <a:r>
              <a:rPr lang="en-US" sz="1900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900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initiieren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900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begleiten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tehende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nossenschaften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900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unterstützen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.B.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i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lächensuche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-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twicklung</a:t>
            </a:r>
            <a:endParaRPr lang="en-US" sz="1900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2" name="TextBox 42"/>
          <p:cNvSpPr txBox="1"/>
          <p:nvPr/>
        </p:nvSpPr>
        <p:spPr>
          <a:xfrm>
            <a:off x="517221" y="6549037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3" name="TextBox 43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4" name="TextBox 44"/>
          <p:cNvSpPr txBox="1"/>
          <p:nvPr/>
        </p:nvSpPr>
        <p:spPr>
          <a:xfrm>
            <a:off x="889210" y="7027192"/>
            <a:ext cx="11554521" cy="7877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199"/>
              </a:lnSpc>
            </a:pPr>
            <a:r>
              <a:rPr lang="en-US" sz="1900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900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900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  <a:p>
            <a:pPr algn="l">
              <a:lnSpc>
                <a:spcPts val="3199"/>
              </a:lnSpc>
            </a:pP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sz="1900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5" name="TextBox 45"/>
          <p:cNvSpPr txBox="1"/>
          <p:nvPr/>
        </p:nvSpPr>
        <p:spPr>
          <a:xfrm>
            <a:off x="13469326" y="6989092"/>
            <a:ext cx="4203003" cy="11981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31796" lvl="1" indent="-215898" algn="l">
              <a:lnSpc>
                <a:spcPts val="3199"/>
              </a:lnSpc>
              <a:buFont typeface="Arial"/>
              <a:buChar char="•"/>
            </a:pP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900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31796" lvl="1" indent="-215898" algn="l">
              <a:lnSpc>
                <a:spcPts val="3199"/>
              </a:lnSpc>
              <a:buFont typeface="Arial"/>
              <a:buChar char="•"/>
            </a:pP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werke</a:t>
            </a:r>
          </a:p>
          <a:p>
            <a:pPr marL="431796" lvl="1" indent="-215898" algn="l">
              <a:lnSpc>
                <a:spcPts val="3199"/>
              </a:lnSpc>
              <a:buFont typeface="Arial"/>
              <a:buChar char="•"/>
            </a:pPr>
            <a:r>
              <a:rPr lang="en-US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ivilgesellschaftliche</a:t>
            </a:r>
            <a:r>
              <a:rPr lang="en-US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Gruppen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16764000" y="9541473"/>
            <a:ext cx="10403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10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2636084" y="646827"/>
            <a:ext cx="11894274" cy="10572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4200"/>
              </a:lnSpc>
            </a:pP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nterstützung</a:t>
            </a: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/ Aufbau von 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oder</a:t>
            </a: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Zusammenarbeit</a:t>
            </a: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it</a:t>
            </a: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nergiegenossenschaften</a:t>
            </a:r>
            <a:endParaRPr lang="en-US" sz="3000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grpSp>
        <p:nvGrpSpPr>
          <p:cNvPr id="48" name="Group 48"/>
          <p:cNvGrpSpPr/>
          <p:nvPr/>
        </p:nvGrpSpPr>
        <p:grpSpPr>
          <a:xfrm>
            <a:off x="-3096" y="1789828"/>
            <a:ext cx="189775" cy="8058350"/>
            <a:chOff x="47551" y="-612853"/>
            <a:chExt cx="253033" cy="10744466"/>
          </a:xfrm>
        </p:grpSpPr>
        <p:sp>
          <p:nvSpPr>
            <p:cNvPr id="49" name="TextBox 49"/>
            <p:cNvSpPr txBox="1"/>
            <p:nvPr/>
          </p:nvSpPr>
          <p:spPr>
            <a:xfrm rot="16200000">
              <a:off x="-4713962" y="4178213"/>
              <a:ext cx="9805611" cy="22348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406"/>
                </a:lnSpc>
              </a:pP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Maßnahmenkatalo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Vorreiterkonzep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 Osnabrück 2024</a:t>
              </a:r>
            </a:p>
          </p:txBody>
        </p:sp>
        <p:sp>
          <p:nvSpPr>
            <p:cNvPr id="50" name="TextBox 50"/>
            <p:cNvSpPr txBox="1"/>
            <p:nvPr/>
          </p:nvSpPr>
          <p:spPr>
            <a:xfrm rot="16200000">
              <a:off x="-248128" y="9590824"/>
              <a:ext cx="836468" cy="24511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7"/>
                </a:lnSpc>
              </a:pPr>
              <a:r>
                <a:rPr lang="en-US" sz="10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1105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Freiflächen</a:t>
            </a:r>
            <a:r>
              <a:rPr lang="en-US" sz="12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-PV-Anlage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112540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2" name="TextBox 52"/>
          <p:cNvSpPr txBox="1"/>
          <p:nvPr/>
        </p:nvSpPr>
        <p:spPr>
          <a:xfrm>
            <a:off x="2636084" y="282972"/>
            <a:ext cx="912614" cy="30670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520"/>
              </a:lnSpc>
            </a:pPr>
            <a:r>
              <a:rPr lang="en-US" sz="1800" dirty="0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TOP 010</a:t>
            </a:r>
          </a:p>
        </p:txBody>
      </p:sp>
      <p:sp>
        <p:nvSpPr>
          <p:cNvPr id="53" name="AutoShape 5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679550" y="429846"/>
            <a:ext cx="1725138" cy="1190179"/>
          </a:xfrm>
          <a:custGeom>
            <a:avLst/>
            <a:gdLst/>
            <a:ahLst/>
            <a:cxnLst/>
            <a:rect l="l" t="t" r="r" b="b"/>
            <a:pathLst>
              <a:path w="1725138" h="1190179">
                <a:moveTo>
                  <a:pt x="0" y="0"/>
                </a:moveTo>
                <a:lnTo>
                  <a:pt x="1725138" y="0"/>
                </a:lnTo>
                <a:lnTo>
                  <a:pt x="1725138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1597380" cy="339603"/>
            <a:chOff x="0" y="0"/>
            <a:chExt cx="2129840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129840" cy="452804"/>
              <a:chOff x="0" y="0"/>
              <a:chExt cx="591622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591622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591622" h="125779">
                    <a:moveTo>
                      <a:pt x="0" y="0"/>
                    </a:moveTo>
                    <a:lnTo>
                      <a:pt x="591622" y="0"/>
                    </a:lnTo>
                    <a:lnTo>
                      <a:pt x="591622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591622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51509" y="18756"/>
              <a:ext cx="202682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Strom-Sektor</a:t>
              </a: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2" name="TextBox 42"/>
          <p:cNvSpPr txBox="1"/>
          <p:nvPr/>
        </p:nvSpPr>
        <p:spPr>
          <a:xfrm>
            <a:off x="517221" y="2150128"/>
            <a:ext cx="12097407" cy="26664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tenzielle Ausbauflächen identifizieren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(kommunale oder private landwirtschaftliche Flächen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lächenausweisung ermöglichen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. direkt ausweisen (Flächennutzungsplan, Bebauungsplan) zur Privilegierung des Ausbaus 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bau unterstützen 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formieren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stützung bei Bundesförderung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gleitung eines Pilot- oder Forschungsprojekts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13469326" y="6989092"/>
            <a:ext cx="4203003" cy="1127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andwirt:inn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lächeneigentümer:inn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6979886" y="9541473"/>
            <a:ext cx="824501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11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13636773" y="5715305"/>
            <a:ext cx="4035556" cy="4515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Agri-PV-Anlage in </a:t>
            </a:r>
            <a:r>
              <a:rPr lang="en-US" sz="1300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Heggelsbach</a:t>
            </a:r>
            <a:endParaRPr lang="en-US" sz="1300" dirty="0">
              <a:solidFill>
                <a:srgbClr val="112540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</a:t>
            </a: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mmons</a:t>
            </a:r>
            <a:endParaRPr lang="en-US" sz="900" dirty="0">
              <a:solidFill>
                <a:srgbClr val="112540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49" name="Group 49"/>
          <p:cNvGrpSpPr/>
          <p:nvPr/>
        </p:nvGrpSpPr>
        <p:grpSpPr>
          <a:xfrm>
            <a:off x="2636084" y="825897"/>
            <a:ext cx="11894274" cy="884858"/>
            <a:chOff x="0" y="-38100"/>
            <a:chExt cx="15859032" cy="1179810"/>
          </a:xfrm>
        </p:grpSpPr>
        <p:sp>
          <p:nvSpPr>
            <p:cNvPr id="50" name="TextBox 50"/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au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von Agri-PV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rmöglich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nterstütz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1" name="TextBox 51"/>
            <p:cNvSpPr txBox="1"/>
            <p:nvPr/>
          </p:nvSpPr>
          <p:spPr>
            <a:xfrm>
              <a:off x="0" y="-38100"/>
              <a:ext cx="1495411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11</a:t>
              </a:r>
            </a:p>
          </p:txBody>
        </p:sp>
      </p:grpSp>
      <p:grpSp>
        <p:nvGrpSpPr>
          <p:cNvPr id="61" name="Group 55">
            <a:extLst>
              <a:ext uri="{FF2B5EF4-FFF2-40B4-BE49-F238E27FC236}">
                <a16:creationId xmlns:a16="http://schemas.microsoft.com/office/drawing/2014/main" id="{1A2021D9-F35C-107C-FDE3-B69F59C1B4E5}"/>
              </a:ext>
            </a:extLst>
          </p:cNvPr>
          <p:cNvGrpSpPr/>
          <p:nvPr/>
        </p:nvGrpSpPr>
        <p:grpSpPr>
          <a:xfrm>
            <a:off x="-15767" y="2291998"/>
            <a:ext cx="177228" cy="7556180"/>
            <a:chOff x="-34161" y="24949"/>
            <a:chExt cx="236303" cy="10074908"/>
          </a:xfrm>
        </p:grpSpPr>
        <p:sp>
          <p:nvSpPr>
            <p:cNvPr id="62" name="TextBox 56">
              <a:extLst>
                <a:ext uri="{FF2B5EF4-FFF2-40B4-BE49-F238E27FC236}">
                  <a16:creationId xmlns:a16="http://schemas.microsoft.com/office/drawing/2014/main" id="{7614C5BE-5CF4-FE5A-5B04-D4780765D840}"/>
                </a:ext>
              </a:extLst>
            </p:cNvPr>
            <p:cNvSpPr txBox="1"/>
            <p:nvPr/>
          </p:nvSpPr>
          <p:spPr>
            <a:xfrm rot="16200000">
              <a:off x="-4475130" y="4477619"/>
              <a:ext cx="9128820" cy="22347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Klima-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Aktionspla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 Buchholz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Klimaneutral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 2035</a:t>
              </a:r>
              <a:endParaRPr lang="en-US" sz="900" dirty="0">
                <a:solidFill>
                  <a:srgbClr val="112540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7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3" name="TextBox 57">
              <a:extLst>
                <a:ext uri="{FF2B5EF4-FFF2-40B4-BE49-F238E27FC236}">
                  <a16:creationId xmlns:a16="http://schemas.microsoft.com/office/drawing/2014/main" id="{2F546516-25AF-E811-263B-087DF8A2EFDF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14" name="Group 12">
            <a:extLst>
              <a:ext uri="{FF2B5EF4-FFF2-40B4-BE49-F238E27FC236}">
                <a16:creationId xmlns:a16="http://schemas.microsoft.com/office/drawing/2014/main" id="{9D34AA87-C542-0B17-3717-70371D5E448E}"/>
              </a:ext>
            </a:extLst>
          </p:cNvPr>
          <p:cNvGrpSpPr/>
          <p:nvPr/>
        </p:nvGrpSpPr>
        <p:grpSpPr>
          <a:xfrm>
            <a:off x="615671" y="7117413"/>
            <a:ext cx="188501" cy="188501"/>
            <a:chOff x="0" y="0"/>
            <a:chExt cx="812800" cy="812800"/>
          </a:xfrm>
        </p:grpSpPr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DD1738B8-E953-12F7-032F-4623B41B81BF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TextBox 14">
              <a:extLst>
                <a:ext uri="{FF2B5EF4-FFF2-40B4-BE49-F238E27FC236}">
                  <a16:creationId xmlns:a16="http://schemas.microsoft.com/office/drawing/2014/main" id="{4D38CD00-626C-18B5-5BF3-C29F6E9FDB16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sp>
        <p:nvSpPr>
          <p:cNvPr id="13" name="TextBox 45">
            <a:extLst>
              <a:ext uri="{FF2B5EF4-FFF2-40B4-BE49-F238E27FC236}">
                <a16:creationId xmlns:a16="http://schemas.microsoft.com/office/drawing/2014/main" id="{30810CD2-466E-59F0-91E2-7DD2B9A65EA6}"/>
              </a:ext>
            </a:extLst>
          </p:cNvPr>
          <p:cNvSpPr txBox="1"/>
          <p:nvPr/>
        </p:nvSpPr>
        <p:spPr>
          <a:xfrm>
            <a:off x="889210" y="7027192"/>
            <a:ext cx="11554521" cy="1884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45" name="Group 52">
            <a:extLst>
              <a:ext uri="{FF2B5EF4-FFF2-40B4-BE49-F238E27FC236}">
                <a16:creationId xmlns:a16="http://schemas.microsoft.com/office/drawing/2014/main" id="{DC2E4AEE-6317-97A2-BC65-9DAA69F04AF7}"/>
              </a:ext>
            </a:extLst>
          </p:cNvPr>
          <p:cNvGrpSpPr/>
          <p:nvPr/>
        </p:nvGrpSpPr>
        <p:grpSpPr>
          <a:xfrm>
            <a:off x="615671" y="8279302"/>
            <a:ext cx="188501" cy="188501"/>
            <a:chOff x="0" y="0"/>
            <a:chExt cx="812800" cy="812800"/>
          </a:xfrm>
        </p:grpSpPr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F78DCE01-42BE-5619-D4E4-46E60E7D8D3C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>
                <a:solidFill>
                  <a:srgbClr val="112540"/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863264AF-C3DE-167E-CCED-FAB23FA0B671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grpSp>
        <p:nvGrpSpPr>
          <p:cNvPr id="12" name="Group 15">
            <a:extLst>
              <a:ext uri="{FF2B5EF4-FFF2-40B4-BE49-F238E27FC236}">
                <a16:creationId xmlns:a16="http://schemas.microsoft.com/office/drawing/2014/main" id="{DBF71219-138D-66F2-7A25-7D3F37FB23BE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7FB37051-DDE7-EF16-11D3-F05E783302EF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TextBox 17">
              <a:extLst>
                <a:ext uri="{FF2B5EF4-FFF2-40B4-BE49-F238E27FC236}">
                  <a16:creationId xmlns:a16="http://schemas.microsoft.com/office/drawing/2014/main" id="{3C48FE77-3972-20A3-6491-8D22F2C5DA46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8" name="Freeform 30">
            <a:extLst>
              <a:ext uri="{FF2B5EF4-FFF2-40B4-BE49-F238E27FC236}">
                <a16:creationId xmlns:a16="http://schemas.microsoft.com/office/drawing/2014/main" id="{4589AA30-E379-A7EB-971C-E56A7CF2700D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9" name="TextBox 41">
            <a:extLst>
              <a:ext uri="{FF2B5EF4-FFF2-40B4-BE49-F238E27FC236}">
                <a16:creationId xmlns:a16="http://schemas.microsoft.com/office/drawing/2014/main" id="{F640E182-7B03-0AEF-4E9D-0456DECD8599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15016995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679550" y="429846"/>
            <a:ext cx="1725138" cy="1190179"/>
          </a:xfrm>
          <a:custGeom>
            <a:avLst/>
            <a:gdLst/>
            <a:ahLst/>
            <a:cxnLst/>
            <a:rect l="l" t="t" r="r" b="b"/>
            <a:pathLst>
              <a:path w="1725138" h="1190179">
                <a:moveTo>
                  <a:pt x="0" y="0"/>
                </a:moveTo>
                <a:lnTo>
                  <a:pt x="1725138" y="0"/>
                </a:lnTo>
                <a:lnTo>
                  <a:pt x="1725138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1597380" cy="339603"/>
            <a:chOff x="0" y="0"/>
            <a:chExt cx="2129840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129840" cy="452804"/>
              <a:chOff x="0" y="0"/>
              <a:chExt cx="591622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591622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591622" h="125779">
                    <a:moveTo>
                      <a:pt x="0" y="0"/>
                    </a:moveTo>
                    <a:lnTo>
                      <a:pt x="591622" y="0"/>
                    </a:lnTo>
                    <a:lnTo>
                      <a:pt x="591622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591622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51509" y="18756"/>
              <a:ext cx="202682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Strom-Sektor</a:t>
              </a: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1" name="Group 21"/>
          <p:cNvGrpSpPr/>
          <p:nvPr/>
        </p:nvGrpSpPr>
        <p:grpSpPr>
          <a:xfrm>
            <a:off x="515733" y="9407587"/>
            <a:ext cx="2463783" cy="440591"/>
            <a:chOff x="0" y="0"/>
            <a:chExt cx="696893" cy="124623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TextBox 23"/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4" name="Freeform 34"/>
          <p:cNvSpPr/>
          <p:nvPr/>
        </p:nvSpPr>
        <p:spPr>
          <a:xfrm>
            <a:off x="639558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8" name="TextBox 38"/>
          <p:cNvSpPr txBox="1"/>
          <p:nvPr/>
        </p:nvSpPr>
        <p:spPr>
          <a:xfrm>
            <a:off x="911172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Einfache Umsetzbarkeit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517221" y="2150128"/>
            <a:ext cx="12097407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Kommune kann über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ädtebauliche Verträge und im Bebauungsplan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ür alle Neubauten (Wohn- und Nichtwohngebäude) ein Solar-Nutzungsgebot festlegen. </a:t>
            </a:r>
          </a:p>
          <a:p>
            <a:pPr algn="l">
              <a:lnSpc>
                <a:spcPts val="3039"/>
              </a:lnSpc>
            </a:pPr>
            <a:endParaRPr lang="de-DE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s kann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V-Module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di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utzung von Solarthermie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fassen.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13469326" y="6989092"/>
            <a:ext cx="4203003" cy="1127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6840200" y="9541473"/>
            <a:ext cx="9641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12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13636773" y="5715305"/>
            <a:ext cx="4035556" cy="4515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300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Einfamilienhaus</a:t>
            </a: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300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mit</a:t>
            </a: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300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Dach</a:t>
            </a: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-PV</a:t>
            </a:r>
          </a:p>
          <a:p>
            <a:pPr algn="ctr">
              <a:lnSpc>
                <a:spcPts val="1819"/>
              </a:lnSpc>
            </a:pP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</a:t>
            </a: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mmons</a:t>
            </a:r>
            <a:endParaRPr lang="en-US" sz="900" dirty="0">
              <a:solidFill>
                <a:srgbClr val="112540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49" name="Group 49"/>
          <p:cNvGrpSpPr/>
          <p:nvPr/>
        </p:nvGrpSpPr>
        <p:grpSpPr>
          <a:xfrm>
            <a:off x="2636084" y="825897"/>
            <a:ext cx="11894274" cy="884858"/>
            <a:chOff x="0" y="-38100"/>
            <a:chExt cx="15859032" cy="1179810"/>
          </a:xfrm>
        </p:grpSpPr>
        <p:sp>
          <p:nvSpPr>
            <p:cNvPr id="50" name="TextBox 50"/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Solarpflicht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i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Neubau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1" name="TextBox 51"/>
            <p:cNvSpPr txBox="1"/>
            <p:nvPr/>
          </p:nvSpPr>
          <p:spPr>
            <a:xfrm>
              <a:off x="0" y="-38100"/>
              <a:ext cx="1495411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12</a:t>
              </a:r>
            </a:p>
          </p:txBody>
        </p:sp>
      </p:grpSp>
      <p:grpSp>
        <p:nvGrpSpPr>
          <p:cNvPr id="61" name="Group 55">
            <a:extLst>
              <a:ext uri="{FF2B5EF4-FFF2-40B4-BE49-F238E27FC236}">
                <a16:creationId xmlns:a16="http://schemas.microsoft.com/office/drawing/2014/main" id="{1A2021D9-F35C-107C-FDE3-B69F59C1B4E5}"/>
              </a:ext>
            </a:extLst>
          </p:cNvPr>
          <p:cNvGrpSpPr/>
          <p:nvPr/>
        </p:nvGrpSpPr>
        <p:grpSpPr>
          <a:xfrm>
            <a:off x="-15767" y="2291998"/>
            <a:ext cx="177228" cy="7556180"/>
            <a:chOff x="-34161" y="24949"/>
            <a:chExt cx="236303" cy="10074908"/>
          </a:xfrm>
        </p:grpSpPr>
        <p:sp>
          <p:nvSpPr>
            <p:cNvPr id="62" name="TextBox 56">
              <a:extLst>
                <a:ext uri="{FF2B5EF4-FFF2-40B4-BE49-F238E27FC236}">
                  <a16:creationId xmlns:a16="http://schemas.microsoft.com/office/drawing/2014/main" id="{7614C5BE-5CF4-FE5A-5B04-D4780765D840}"/>
                </a:ext>
              </a:extLst>
            </p:cNvPr>
            <p:cNvSpPr txBox="1"/>
            <p:nvPr/>
          </p:nvSpPr>
          <p:spPr>
            <a:xfrm rot="16200000">
              <a:off x="-4475130" y="4477619"/>
              <a:ext cx="9128820" cy="22347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BA 2022: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, S. 91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olarserver 2021: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olarpflicht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und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ändern</a:t>
              </a:r>
              <a:endParaRPr lang="en-US" sz="900" dirty="0">
                <a:solidFill>
                  <a:srgbClr val="112540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11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3" name="TextBox 57">
              <a:extLst>
                <a:ext uri="{FF2B5EF4-FFF2-40B4-BE49-F238E27FC236}">
                  <a16:creationId xmlns:a16="http://schemas.microsoft.com/office/drawing/2014/main" id="{2F546516-25AF-E811-263B-087DF8A2EFDF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13" name="TextBox 45">
            <a:extLst>
              <a:ext uri="{FF2B5EF4-FFF2-40B4-BE49-F238E27FC236}">
                <a16:creationId xmlns:a16="http://schemas.microsoft.com/office/drawing/2014/main" id="{30810CD2-466E-59F0-91E2-7DD2B9A65EA6}"/>
              </a:ext>
            </a:extLst>
          </p:cNvPr>
          <p:cNvSpPr txBox="1"/>
          <p:nvPr/>
        </p:nvSpPr>
        <p:spPr>
          <a:xfrm>
            <a:off x="889210" y="7027192"/>
            <a:ext cx="11554521" cy="1127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ön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/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üss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45" name="Group 52">
            <a:extLst>
              <a:ext uri="{FF2B5EF4-FFF2-40B4-BE49-F238E27FC236}">
                <a16:creationId xmlns:a16="http://schemas.microsoft.com/office/drawing/2014/main" id="{DC2E4AEE-6317-97A2-BC65-9DAA69F04AF7}"/>
              </a:ext>
            </a:extLst>
          </p:cNvPr>
          <p:cNvGrpSpPr/>
          <p:nvPr/>
        </p:nvGrpSpPr>
        <p:grpSpPr>
          <a:xfrm>
            <a:off x="615671" y="7130200"/>
            <a:ext cx="188501" cy="188501"/>
            <a:chOff x="0" y="0"/>
            <a:chExt cx="812800" cy="812800"/>
          </a:xfrm>
        </p:grpSpPr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F78DCE01-42BE-5619-D4E4-46E60E7D8D3C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>
                <a:solidFill>
                  <a:srgbClr val="112540"/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863264AF-C3DE-167E-CCED-FAB23FA0B671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3724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679550" y="429846"/>
            <a:ext cx="1725138" cy="1190179"/>
          </a:xfrm>
          <a:custGeom>
            <a:avLst/>
            <a:gdLst/>
            <a:ahLst/>
            <a:cxnLst/>
            <a:rect l="l" t="t" r="r" b="b"/>
            <a:pathLst>
              <a:path w="1725138" h="1190179">
                <a:moveTo>
                  <a:pt x="0" y="0"/>
                </a:moveTo>
                <a:lnTo>
                  <a:pt x="1725138" y="0"/>
                </a:lnTo>
                <a:lnTo>
                  <a:pt x="1725138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1597380" cy="339603"/>
            <a:chOff x="0" y="0"/>
            <a:chExt cx="2129840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129840" cy="452804"/>
              <a:chOff x="0" y="0"/>
              <a:chExt cx="591622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591622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591622" h="125779">
                    <a:moveTo>
                      <a:pt x="0" y="0"/>
                    </a:moveTo>
                    <a:lnTo>
                      <a:pt x="591622" y="0"/>
                    </a:lnTo>
                    <a:lnTo>
                      <a:pt x="591622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591622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51509" y="18756"/>
              <a:ext cx="202682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Strom-Sektor</a:t>
              </a: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2" name="TextBox 42"/>
          <p:cNvSpPr txBox="1"/>
          <p:nvPr/>
        </p:nvSpPr>
        <p:spPr>
          <a:xfrm>
            <a:off x="517221" y="3211510"/>
            <a:ext cx="14559746" cy="49747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1			Bau von Windenergieanlagen ermöglichen und unterstütz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2			Bau von PV-Flächenanlagen ermöglichen und unterstütz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3			Belegung aller Kommunen-eigener Dachflächen mit PV-Anlag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4			Kommune bezieht für alle eigenen Liegenschaften qualifizierten Ökostrom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5			Förderprogramme für PV-Ausbau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6			Beratungs- und Unterstützungsangebote für Private und Unternehm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7			100 Prozent qualifizierter Ökostrom als Angebot der Stadtwerke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8			Einrichtung eines kommunalen Energiemanagements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9			Start von wirksamen Kampagn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10			Unterstützung/ Aufbau von oder Zusammenarbeit mit Energiegenossenschaft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11				Bau von Agri-PV-Anlagen ermöglichen und unterstütz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12				Solarpflicht bei Neubau</a:t>
            </a: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3" name="TextBox 43"/>
          <p:cNvSpPr txBox="1"/>
          <p:nvPr/>
        </p:nvSpPr>
        <p:spPr>
          <a:xfrm>
            <a:off x="517221" y="2125513"/>
            <a:ext cx="17155108" cy="7016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en:		Enabling-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	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Planerisch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echnisch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  <a:p>
            <a:pPr>
              <a:lnSpc>
                <a:spcPts val="2799"/>
              </a:lnSpc>
            </a:pP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		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nabling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Dritter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, die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tech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Maßnahme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umzusetz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		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Veränderung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der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Rahmenbedingung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			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insparung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bspw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durch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Strombezug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durch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rneuerbare</a:t>
            </a:r>
            <a:endParaRPr lang="en-US" sz="1200" dirty="0">
              <a:solidFill>
                <a:srgbClr val="011633"/>
              </a:solidFill>
              <a:latin typeface="DM Sans 2" panose="020B0604020202020204" charset="0"/>
              <a:ea typeface="DM Sans 1"/>
              <a:cs typeface="DM Sans 1"/>
              <a:sym typeface="DM Sans 1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1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2636084" y="1196896"/>
            <a:ext cx="11894274" cy="5138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4200"/>
              </a:lnSpc>
            </a:pP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OP-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</a:t>
            </a: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Strom</a:t>
            </a:r>
          </a:p>
        </p:txBody>
      </p:sp>
      <p:grpSp>
        <p:nvGrpSpPr>
          <p:cNvPr id="52" name="Group 52"/>
          <p:cNvGrpSpPr/>
          <p:nvPr/>
        </p:nvGrpSpPr>
        <p:grpSpPr>
          <a:xfrm>
            <a:off x="8422875" y="2217705"/>
            <a:ext cx="188501" cy="188501"/>
            <a:chOff x="0" y="0"/>
            <a:chExt cx="812800" cy="812800"/>
          </a:xfrm>
        </p:grpSpPr>
        <p:sp>
          <p:nvSpPr>
            <p:cNvPr id="53" name="Freeform 5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58" name="Flussdiagramm: Verbinder 57">
            <a:extLst>
              <a:ext uri="{FF2B5EF4-FFF2-40B4-BE49-F238E27FC236}">
                <a16:creationId xmlns:a16="http://schemas.microsoft.com/office/drawing/2014/main" id="{798C9070-72C4-0F6B-282D-38B92243C200}"/>
              </a:ext>
            </a:extLst>
          </p:cNvPr>
          <p:cNvSpPr/>
          <p:nvPr/>
        </p:nvSpPr>
        <p:spPr>
          <a:xfrm>
            <a:off x="13047602" y="2221570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0" name="Freeform 13">
            <a:extLst>
              <a:ext uri="{FF2B5EF4-FFF2-40B4-BE49-F238E27FC236}">
                <a16:creationId xmlns:a16="http://schemas.microsoft.com/office/drawing/2014/main" id="{8BB5858D-37EF-33C6-AE41-66589039944B}"/>
              </a:ext>
            </a:extLst>
          </p:cNvPr>
          <p:cNvSpPr/>
          <p:nvPr/>
        </p:nvSpPr>
        <p:spPr>
          <a:xfrm>
            <a:off x="2267917" y="3314699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/>
          </a:p>
        </p:txBody>
      </p:sp>
      <p:grpSp>
        <p:nvGrpSpPr>
          <p:cNvPr id="62" name="Group 52">
            <a:extLst>
              <a:ext uri="{FF2B5EF4-FFF2-40B4-BE49-F238E27FC236}">
                <a16:creationId xmlns:a16="http://schemas.microsoft.com/office/drawing/2014/main" id="{35798289-026A-6CDB-BDE0-8B51C2625B87}"/>
              </a:ext>
            </a:extLst>
          </p:cNvPr>
          <p:cNvGrpSpPr/>
          <p:nvPr/>
        </p:nvGrpSpPr>
        <p:grpSpPr>
          <a:xfrm>
            <a:off x="2543423" y="3314699"/>
            <a:ext cx="188501" cy="188501"/>
            <a:chOff x="0" y="0"/>
            <a:chExt cx="812800" cy="812800"/>
          </a:xfrm>
        </p:grpSpPr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C73CC616-7264-33DB-B76D-2F347D32BBEB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>
                <a:solidFill>
                  <a:srgbClr val="112540"/>
                </a:solidFill>
              </a:endParaRPr>
            </a:p>
          </p:txBody>
        </p:sp>
        <p:sp>
          <p:nvSpPr>
            <p:cNvPr id="64" name="TextBox 54">
              <a:extLst>
                <a:ext uri="{FF2B5EF4-FFF2-40B4-BE49-F238E27FC236}">
                  <a16:creationId xmlns:a16="http://schemas.microsoft.com/office/drawing/2014/main" id="{B8738C87-F298-40C0-7CE4-0C020607D6B8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sp>
        <p:nvSpPr>
          <p:cNvPr id="65" name="Freeform 13">
            <a:extLst>
              <a:ext uri="{FF2B5EF4-FFF2-40B4-BE49-F238E27FC236}">
                <a16:creationId xmlns:a16="http://schemas.microsoft.com/office/drawing/2014/main" id="{BBC39AAA-BA6C-1BF0-A516-297B589757DD}"/>
              </a:ext>
            </a:extLst>
          </p:cNvPr>
          <p:cNvSpPr/>
          <p:nvPr/>
        </p:nvSpPr>
        <p:spPr>
          <a:xfrm>
            <a:off x="2267916" y="3693130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/>
          </a:p>
        </p:txBody>
      </p:sp>
      <p:grpSp>
        <p:nvGrpSpPr>
          <p:cNvPr id="66" name="Group 52">
            <a:extLst>
              <a:ext uri="{FF2B5EF4-FFF2-40B4-BE49-F238E27FC236}">
                <a16:creationId xmlns:a16="http://schemas.microsoft.com/office/drawing/2014/main" id="{E47C4F71-8976-ACB9-F3E5-CAE830BD6F02}"/>
              </a:ext>
            </a:extLst>
          </p:cNvPr>
          <p:cNvGrpSpPr/>
          <p:nvPr/>
        </p:nvGrpSpPr>
        <p:grpSpPr>
          <a:xfrm>
            <a:off x="2549292" y="3686864"/>
            <a:ext cx="188501" cy="188501"/>
            <a:chOff x="0" y="0"/>
            <a:chExt cx="812800" cy="812800"/>
          </a:xfrm>
        </p:grpSpPr>
        <p:sp>
          <p:nvSpPr>
            <p:cNvPr id="67" name="Freeform 53">
              <a:extLst>
                <a:ext uri="{FF2B5EF4-FFF2-40B4-BE49-F238E27FC236}">
                  <a16:creationId xmlns:a16="http://schemas.microsoft.com/office/drawing/2014/main" id="{BEFC1AAD-EAB7-9DE1-8D56-9E6BBDC6A3A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>
                <a:solidFill>
                  <a:srgbClr val="112540"/>
                </a:solidFill>
              </a:endParaRPr>
            </a:p>
          </p:txBody>
        </p:sp>
        <p:sp>
          <p:nvSpPr>
            <p:cNvPr id="68" name="TextBox 54">
              <a:extLst>
                <a:ext uri="{FF2B5EF4-FFF2-40B4-BE49-F238E27FC236}">
                  <a16:creationId xmlns:a16="http://schemas.microsoft.com/office/drawing/2014/main" id="{01417E2F-8345-7126-0C7E-59A66332C803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sp>
        <p:nvSpPr>
          <p:cNvPr id="69" name="Flussdiagramm: Verbinder 68">
            <a:extLst>
              <a:ext uri="{FF2B5EF4-FFF2-40B4-BE49-F238E27FC236}">
                <a16:creationId xmlns:a16="http://schemas.microsoft.com/office/drawing/2014/main" id="{C7C7D070-DFF2-9F4C-2D31-72213B257830}"/>
              </a:ext>
            </a:extLst>
          </p:cNvPr>
          <p:cNvSpPr/>
          <p:nvPr/>
        </p:nvSpPr>
        <p:spPr>
          <a:xfrm>
            <a:off x="2819398" y="4081184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Flussdiagramm: Verbinder 69">
            <a:extLst>
              <a:ext uri="{FF2B5EF4-FFF2-40B4-BE49-F238E27FC236}">
                <a16:creationId xmlns:a16="http://schemas.microsoft.com/office/drawing/2014/main" id="{0EF2AE66-F80F-BEA1-4F1C-51E909176F90}"/>
              </a:ext>
            </a:extLst>
          </p:cNvPr>
          <p:cNvSpPr/>
          <p:nvPr/>
        </p:nvSpPr>
        <p:spPr>
          <a:xfrm>
            <a:off x="2819397" y="4478364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Freeform 13">
            <a:extLst>
              <a:ext uri="{FF2B5EF4-FFF2-40B4-BE49-F238E27FC236}">
                <a16:creationId xmlns:a16="http://schemas.microsoft.com/office/drawing/2014/main" id="{3038D2D8-C794-892E-C979-10EA138F222A}"/>
              </a:ext>
            </a:extLst>
          </p:cNvPr>
          <p:cNvSpPr/>
          <p:nvPr/>
        </p:nvSpPr>
        <p:spPr>
          <a:xfrm>
            <a:off x="2267916" y="4837564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2" name="Freeform 13">
            <a:extLst>
              <a:ext uri="{FF2B5EF4-FFF2-40B4-BE49-F238E27FC236}">
                <a16:creationId xmlns:a16="http://schemas.microsoft.com/office/drawing/2014/main" id="{D6B4A649-1ED0-1755-F52C-610AF8B857B5}"/>
              </a:ext>
            </a:extLst>
          </p:cNvPr>
          <p:cNvSpPr/>
          <p:nvPr/>
        </p:nvSpPr>
        <p:spPr>
          <a:xfrm>
            <a:off x="2265254" y="5205339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3" name="Flussdiagramm: Verbinder 72">
            <a:extLst>
              <a:ext uri="{FF2B5EF4-FFF2-40B4-BE49-F238E27FC236}">
                <a16:creationId xmlns:a16="http://schemas.microsoft.com/office/drawing/2014/main" id="{C44626A7-2926-7CAA-C0CB-4BECBCC7580E}"/>
              </a:ext>
            </a:extLst>
          </p:cNvPr>
          <p:cNvSpPr/>
          <p:nvPr/>
        </p:nvSpPr>
        <p:spPr>
          <a:xfrm>
            <a:off x="2819397" y="5604641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Flussdiagramm: Verbinder 73">
            <a:extLst>
              <a:ext uri="{FF2B5EF4-FFF2-40B4-BE49-F238E27FC236}">
                <a16:creationId xmlns:a16="http://schemas.microsoft.com/office/drawing/2014/main" id="{47C1D7D3-FB64-62D0-BE02-A94C3B8CB31C}"/>
              </a:ext>
            </a:extLst>
          </p:cNvPr>
          <p:cNvSpPr/>
          <p:nvPr/>
        </p:nvSpPr>
        <p:spPr>
          <a:xfrm>
            <a:off x="2819397" y="6006854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Freeform 13">
            <a:extLst>
              <a:ext uri="{FF2B5EF4-FFF2-40B4-BE49-F238E27FC236}">
                <a16:creationId xmlns:a16="http://schemas.microsoft.com/office/drawing/2014/main" id="{96EF1AA9-5662-339E-3308-FAA22EF40CFB}"/>
              </a:ext>
            </a:extLst>
          </p:cNvPr>
          <p:cNvSpPr/>
          <p:nvPr/>
        </p:nvSpPr>
        <p:spPr>
          <a:xfrm>
            <a:off x="2293925" y="6405370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/>
          </a:p>
        </p:txBody>
      </p:sp>
      <p:sp>
        <p:nvSpPr>
          <p:cNvPr id="76" name="Freeform 13">
            <a:extLst>
              <a:ext uri="{FF2B5EF4-FFF2-40B4-BE49-F238E27FC236}">
                <a16:creationId xmlns:a16="http://schemas.microsoft.com/office/drawing/2014/main" id="{B6DC5A3B-D07B-10BC-08AD-DDA81428F5D7}"/>
              </a:ext>
            </a:extLst>
          </p:cNvPr>
          <p:cNvSpPr/>
          <p:nvPr/>
        </p:nvSpPr>
        <p:spPr>
          <a:xfrm>
            <a:off x="2293923" y="7124699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/>
          </a:p>
        </p:txBody>
      </p:sp>
      <p:sp>
        <p:nvSpPr>
          <p:cNvPr id="77" name="Freeform 13">
            <a:extLst>
              <a:ext uri="{FF2B5EF4-FFF2-40B4-BE49-F238E27FC236}">
                <a16:creationId xmlns:a16="http://schemas.microsoft.com/office/drawing/2014/main" id="{29A3BD8C-B03F-31F7-9F6F-5C0D9EAE34CD}"/>
              </a:ext>
            </a:extLst>
          </p:cNvPr>
          <p:cNvSpPr/>
          <p:nvPr/>
        </p:nvSpPr>
        <p:spPr>
          <a:xfrm>
            <a:off x="2293924" y="6743700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/>
          </a:p>
        </p:txBody>
      </p:sp>
      <p:grpSp>
        <p:nvGrpSpPr>
          <p:cNvPr id="78" name="Group 52">
            <a:extLst>
              <a:ext uri="{FF2B5EF4-FFF2-40B4-BE49-F238E27FC236}">
                <a16:creationId xmlns:a16="http://schemas.microsoft.com/office/drawing/2014/main" id="{CBD7885B-C650-E833-8294-40A5515D316E}"/>
              </a:ext>
            </a:extLst>
          </p:cNvPr>
          <p:cNvGrpSpPr/>
          <p:nvPr/>
        </p:nvGrpSpPr>
        <p:grpSpPr>
          <a:xfrm>
            <a:off x="2549292" y="7115863"/>
            <a:ext cx="188501" cy="197337"/>
            <a:chOff x="32163" y="-38100"/>
            <a:chExt cx="812800" cy="850900"/>
          </a:xfrm>
        </p:grpSpPr>
        <p:sp>
          <p:nvSpPr>
            <p:cNvPr id="79" name="Freeform 53">
              <a:extLst>
                <a:ext uri="{FF2B5EF4-FFF2-40B4-BE49-F238E27FC236}">
                  <a16:creationId xmlns:a16="http://schemas.microsoft.com/office/drawing/2014/main" id="{FDC90915-0D5A-9D1E-C297-3795178A8F59}"/>
                </a:ext>
              </a:extLst>
            </p:cNvPr>
            <p:cNvSpPr/>
            <p:nvPr/>
          </p:nvSpPr>
          <p:spPr>
            <a:xfrm>
              <a:off x="32163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>
                <a:solidFill>
                  <a:srgbClr val="112540"/>
                </a:solidFill>
              </a:endParaRPr>
            </a:p>
          </p:txBody>
        </p:sp>
        <p:sp>
          <p:nvSpPr>
            <p:cNvPr id="80" name="TextBox 54">
              <a:extLst>
                <a:ext uri="{FF2B5EF4-FFF2-40B4-BE49-F238E27FC236}">
                  <a16:creationId xmlns:a16="http://schemas.microsoft.com/office/drawing/2014/main" id="{EDA27F54-D6B1-5C7F-E5EE-0367014AF5A8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grpSp>
        <p:nvGrpSpPr>
          <p:cNvPr id="81" name="Group 52">
            <a:extLst>
              <a:ext uri="{FF2B5EF4-FFF2-40B4-BE49-F238E27FC236}">
                <a16:creationId xmlns:a16="http://schemas.microsoft.com/office/drawing/2014/main" id="{790CB2DD-C6D6-66A2-148E-D44BCB4A184E}"/>
              </a:ext>
            </a:extLst>
          </p:cNvPr>
          <p:cNvGrpSpPr/>
          <p:nvPr/>
        </p:nvGrpSpPr>
        <p:grpSpPr>
          <a:xfrm>
            <a:off x="2541832" y="7543561"/>
            <a:ext cx="188501" cy="188501"/>
            <a:chOff x="0" y="0"/>
            <a:chExt cx="812800" cy="812800"/>
          </a:xfrm>
        </p:grpSpPr>
        <p:sp>
          <p:nvSpPr>
            <p:cNvPr id="82" name="Freeform 53">
              <a:extLst>
                <a:ext uri="{FF2B5EF4-FFF2-40B4-BE49-F238E27FC236}">
                  <a16:creationId xmlns:a16="http://schemas.microsoft.com/office/drawing/2014/main" id="{5609BA09-FB12-67BD-7E91-D489825BFB4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>
                <a:solidFill>
                  <a:srgbClr val="112540"/>
                </a:solidFill>
              </a:endParaRPr>
            </a:p>
          </p:txBody>
        </p:sp>
        <p:sp>
          <p:nvSpPr>
            <p:cNvPr id="83" name="TextBox 54">
              <a:extLst>
                <a:ext uri="{FF2B5EF4-FFF2-40B4-BE49-F238E27FC236}">
                  <a16:creationId xmlns:a16="http://schemas.microsoft.com/office/drawing/2014/main" id="{2D567C03-B9B7-F427-3048-67DBD5CB33B8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sp>
        <p:nvSpPr>
          <p:cNvPr id="84" name="Freeform 13">
            <a:extLst>
              <a:ext uri="{FF2B5EF4-FFF2-40B4-BE49-F238E27FC236}">
                <a16:creationId xmlns:a16="http://schemas.microsoft.com/office/drawing/2014/main" id="{9B30AAD9-1F9D-5AE2-608D-07D7F626873B}"/>
              </a:ext>
            </a:extLst>
          </p:cNvPr>
          <p:cNvSpPr/>
          <p:nvPr/>
        </p:nvSpPr>
        <p:spPr>
          <a:xfrm>
            <a:off x="3874726" y="2217706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EDC73908-9BC5-1C47-23B0-A4C350E2AB8F}"/>
              </a:ext>
            </a:extLst>
          </p:cNvPr>
          <p:cNvSpPr/>
          <p:nvPr/>
        </p:nvSpPr>
        <p:spPr>
          <a:xfrm>
            <a:off x="3225027" y="3280066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5C6C42F2-6EE9-90C4-C922-33784666F55F}"/>
              </a:ext>
            </a:extLst>
          </p:cNvPr>
          <p:cNvSpPr/>
          <p:nvPr/>
        </p:nvSpPr>
        <p:spPr>
          <a:xfrm>
            <a:off x="3226908" y="4060315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01C2C97F-6418-48A4-F076-7A490EAFA8BC}"/>
              </a:ext>
            </a:extLst>
          </p:cNvPr>
          <p:cNvSpPr/>
          <p:nvPr/>
        </p:nvSpPr>
        <p:spPr>
          <a:xfrm>
            <a:off x="3225027" y="4415461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8A1A267A-C3DD-3150-B154-3B5CF08733BD}"/>
              </a:ext>
            </a:extLst>
          </p:cNvPr>
          <p:cNvSpPr/>
          <p:nvPr/>
        </p:nvSpPr>
        <p:spPr>
          <a:xfrm>
            <a:off x="3225027" y="4801981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83D0033D-89B0-E1FD-FD79-27BBEBED8A7C}"/>
              </a:ext>
            </a:extLst>
          </p:cNvPr>
          <p:cNvSpPr/>
          <p:nvPr/>
        </p:nvSpPr>
        <p:spPr>
          <a:xfrm>
            <a:off x="3225027" y="5188796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D4C552E3-8BD6-31A5-EAC7-7C21573901FA}"/>
              </a:ext>
            </a:extLst>
          </p:cNvPr>
          <p:cNvSpPr txBox="1"/>
          <p:nvPr/>
        </p:nvSpPr>
        <p:spPr>
          <a:xfrm>
            <a:off x="3301227" y="3270168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3F2ADA0-854B-EA46-39D5-59701B9B8E67}"/>
              </a:ext>
            </a:extLst>
          </p:cNvPr>
          <p:cNvSpPr txBox="1"/>
          <p:nvPr/>
        </p:nvSpPr>
        <p:spPr>
          <a:xfrm>
            <a:off x="3301227" y="4065533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4959386-7AE0-34D2-7991-13702282633E}"/>
              </a:ext>
            </a:extLst>
          </p:cNvPr>
          <p:cNvSpPr txBox="1"/>
          <p:nvPr/>
        </p:nvSpPr>
        <p:spPr>
          <a:xfrm>
            <a:off x="3301227" y="4416370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07CD620-CC74-BDA7-0A09-EA793D5C152E}"/>
              </a:ext>
            </a:extLst>
          </p:cNvPr>
          <p:cNvSpPr txBox="1"/>
          <p:nvPr/>
        </p:nvSpPr>
        <p:spPr>
          <a:xfrm>
            <a:off x="3301227" y="4789079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7A3B739B-9121-CA2C-2C0C-30CA7642A146}"/>
              </a:ext>
            </a:extLst>
          </p:cNvPr>
          <p:cNvSpPr txBox="1"/>
          <p:nvPr/>
        </p:nvSpPr>
        <p:spPr>
          <a:xfrm>
            <a:off x="3301227" y="5185439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86C2BD1D-78C9-3D44-E09A-164DEC029532}"/>
              </a:ext>
            </a:extLst>
          </p:cNvPr>
          <p:cNvSpPr/>
          <p:nvPr/>
        </p:nvSpPr>
        <p:spPr>
          <a:xfrm>
            <a:off x="3225027" y="3681997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164F4C2-3E0B-370B-1BF7-A457CD09365D}"/>
              </a:ext>
            </a:extLst>
          </p:cNvPr>
          <p:cNvSpPr txBox="1"/>
          <p:nvPr/>
        </p:nvSpPr>
        <p:spPr>
          <a:xfrm>
            <a:off x="3301227" y="3681996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ECF3C08A-102C-7DF3-0566-6D0E52888767}"/>
              </a:ext>
            </a:extLst>
          </p:cNvPr>
          <p:cNvSpPr/>
          <p:nvPr/>
        </p:nvSpPr>
        <p:spPr>
          <a:xfrm>
            <a:off x="3225027" y="7448076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0C599B5D-53AD-F307-D74B-FF773A8384D6}"/>
              </a:ext>
            </a:extLst>
          </p:cNvPr>
          <p:cNvSpPr/>
          <p:nvPr/>
        </p:nvSpPr>
        <p:spPr>
          <a:xfrm>
            <a:off x="3211033" y="7085612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C7124439-7E6A-F8B9-4947-7DC8DDE9302C}"/>
              </a:ext>
            </a:extLst>
          </p:cNvPr>
          <p:cNvSpPr/>
          <p:nvPr/>
        </p:nvSpPr>
        <p:spPr>
          <a:xfrm>
            <a:off x="3211033" y="6701267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C38ECFEE-109B-1495-D4E2-EE74F301DAF8}"/>
              </a:ext>
            </a:extLst>
          </p:cNvPr>
          <p:cNvSpPr/>
          <p:nvPr/>
        </p:nvSpPr>
        <p:spPr>
          <a:xfrm>
            <a:off x="3211033" y="6318436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09550910-70D8-ED00-9C91-4E32D1B60649}"/>
              </a:ext>
            </a:extLst>
          </p:cNvPr>
          <p:cNvSpPr/>
          <p:nvPr/>
        </p:nvSpPr>
        <p:spPr>
          <a:xfrm>
            <a:off x="3211033" y="5928523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20634918-02AA-B3D3-BF68-22D0E22C6092}"/>
              </a:ext>
            </a:extLst>
          </p:cNvPr>
          <p:cNvSpPr txBox="1"/>
          <p:nvPr/>
        </p:nvSpPr>
        <p:spPr>
          <a:xfrm>
            <a:off x="3301227" y="7451437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B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694DDCA5-A290-72CD-B9A6-B4B3253AE9C6}"/>
              </a:ext>
            </a:extLst>
          </p:cNvPr>
          <p:cNvSpPr txBox="1"/>
          <p:nvPr/>
        </p:nvSpPr>
        <p:spPr>
          <a:xfrm>
            <a:off x="3301227" y="7085612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B</a:t>
            </a:r>
          </a:p>
        </p:txBody>
      </p: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3C7FADF2-8EAC-F66D-7388-8AC507A5DCE0}"/>
              </a:ext>
            </a:extLst>
          </p:cNvPr>
          <p:cNvSpPr/>
          <p:nvPr/>
        </p:nvSpPr>
        <p:spPr>
          <a:xfrm>
            <a:off x="3225027" y="5534374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AE60BC9C-F09B-C941-4502-4F48ECFA036C}"/>
              </a:ext>
            </a:extLst>
          </p:cNvPr>
          <p:cNvSpPr txBox="1"/>
          <p:nvPr/>
        </p:nvSpPr>
        <p:spPr>
          <a:xfrm>
            <a:off x="3301227" y="5534373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B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F7940550-6653-B4B9-B036-18BFC7B888B1}"/>
              </a:ext>
            </a:extLst>
          </p:cNvPr>
          <p:cNvSpPr txBox="1"/>
          <p:nvPr/>
        </p:nvSpPr>
        <p:spPr>
          <a:xfrm>
            <a:off x="3301227" y="5941491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B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BF0C0A70-FE03-4B6E-D909-419074085F34}"/>
              </a:ext>
            </a:extLst>
          </p:cNvPr>
          <p:cNvSpPr txBox="1"/>
          <p:nvPr/>
        </p:nvSpPr>
        <p:spPr>
          <a:xfrm>
            <a:off x="3301227" y="6322185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B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6D057A5-130A-FE10-45A0-8F43BA0B53FE}"/>
              </a:ext>
            </a:extLst>
          </p:cNvPr>
          <p:cNvSpPr txBox="1"/>
          <p:nvPr/>
        </p:nvSpPr>
        <p:spPr>
          <a:xfrm>
            <a:off x="3301227" y="6716604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B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679550" y="429846"/>
            <a:ext cx="1725138" cy="1190179"/>
          </a:xfrm>
          <a:custGeom>
            <a:avLst/>
            <a:gdLst/>
            <a:ahLst/>
            <a:cxnLst/>
            <a:rect l="l" t="t" r="r" b="b"/>
            <a:pathLst>
              <a:path w="1725138" h="1190179">
                <a:moveTo>
                  <a:pt x="0" y="0"/>
                </a:moveTo>
                <a:lnTo>
                  <a:pt x="1725138" y="0"/>
                </a:lnTo>
                <a:lnTo>
                  <a:pt x="1725138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1597380" cy="339603"/>
            <a:chOff x="0" y="0"/>
            <a:chExt cx="2129840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129840" cy="452804"/>
              <a:chOff x="0" y="0"/>
              <a:chExt cx="591622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591622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591622" h="125779">
                    <a:moveTo>
                      <a:pt x="0" y="0"/>
                    </a:moveTo>
                    <a:lnTo>
                      <a:pt x="591622" y="0"/>
                    </a:lnTo>
                    <a:lnTo>
                      <a:pt x="591622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591622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51509" y="18756"/>
              <a:ext cx="202682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Strom-Sektor</a:t>
              </a: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12" name="Group 12"/>
          <p:cNvGrpSpPr/>
          <p:nvPr/>
        </p:nvGrpSpPr>
        <p:grpSpPr>
          <a:xfrm>
            <a:off x="615671" y="7151017"/>
            <a:ext cx="188501" cy="188501"/>
            <a:chOff x="0" y="0"/>
            <a:chExt cx="812800" cy="81280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TextBox 14"/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515733" y="9407587"/>
            <a:ext cx="2341249" cy="440591"/>
            <a:chOff x="0" y="0"/>
            <a:chExt cx="662234" cy="124623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662234" cy="124623"/>
            </a:xfrm>
            <a:custGeom>
              <a:avLst/>
              <a:gdLst/>
              <a:ahLst/>
              <a:cxnLst/>
              <a:rect l="l" t="t" r="r" b="b"/>
              <a:pathLst>
                <a:path w="662234" h="124623">
                  <a:moveTo>
                    <a:pt x="62312" y="0"/>
                  </a:moveTo>
                  <a:lnTo>
                    <a:pt x="599922" y="0"/>
                  </a:lnTo>
                  <a:cubicBezTo>
                    <a:pt x="616448" y="0"/>
                    <a:pt x="632297" y="6565"/>
                    <a:pt x="643983" y="18251"/>
                  </a:cubicBezTo>
                  <a:cubicBezTo>
                    <a:pt x="655669" y="29936"/>
                    <a:pt x="662234" y="45786"/>
                    <a:pt x="662234" y="62312"/>
                  </a:cubicBezTo>
                  <a:lnTo>
                    <a:pt x="662234" y="62312"/>
                  </a:lnTo>
                  <a:cubicBezTo>
                    <a:pt x="662234" y="78838"/>
                    <a:pt x="655669" y="94687"/>
                    <a:pt x="643983" y="106373"/>
                  </a:cubicBezTo>
                  <a:cubicBezTo>
                    <a:pt x="632297" y="118058"/>
                    <a:pt x="616448" y="124623"/>
                    <a:pt x="59992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0" y="-28575"/>
              <a:ext cx="662234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grpSp>
        <p:nvGrpSpPr>
          <p:cNvPr id="21" name="Group 21"/>
          <p:cNvGrpSpPr/>
          <p:nvPr/>
        </p:nvGrpSpPr>
        <p:grpSpPr>
          <a:xfrm>
            <a:off x="2941520" y="9407587"/>
            <a:ext cx="2463783" cy="440591"/>
            <a:chOff x="0" y="0"/>
            <a:chExt cx="696893" cy="124623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TextBox 23"/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3" name="Freeform 33"/>
          <p:cNvSpPr/>
          <p:nvPr/>
        </p:nvSpPr>
        <p:spPr>
          <a:xfrm>
            <a:off x="635586" y="950344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3" y="0"/>
                </a:lnTo>
                <a:lnTo>
                  <a:pt x="233323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4" name="Freeform 34"/>
          <p:cNvSpPr/>
          <p:nvPr/>
        </p:nvSpPr>
        <p:spPr>
          <a:xfrm>
            <a:off x="3065345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7"/>
              <a:stretch>
                <a:fillRect l="-24961" r="-24961"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7" name="TextBox 37"/>
          <p:cNvSpPr txBox="1"/>
          <p:nvPr/>
        </p:nvSpPr>
        <p:spPr>
          <a:xfrm>
            <a:off x="916534" y="9500566"/>
            <a:ext cx="1765348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HG-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sparpotenzial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38" name="TextBox 38"/>
          <p:cNvSpPr txBox="1"/>
          <p:nvPr/>
        </p:nvSpPr>
        <p:spPr>
          <a:xfrm>
            <a:off x="3336959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2" name="TextBox 42"/>
          <p:cNvSpPr txBox="1"/>
          <p:nvPr/>
        </p:nvSpPr>
        <p:spPr>
          <a:xfrm>
            <a:off x="517221" y="2150128"/>
            <a:ext cx="12097407" cy="305115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eistens sind di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überkommunalen Regionalverbände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ür die Ausweisung der Windkraftstandorten zuständig. Jedes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undesland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hat aus dem 2%-Bundesziel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gene Ausbauziele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</a:p>
          <a:p>
            <a:pPr algn="l">
              <a:lnSpc>
                <a:spcPts val="3039"/>
              </a:lnSpc>
            </a:pPr>
            <a:endParaRPr lang="de-DE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en können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indenergieflächen in den Flächennutzungsplän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usweisen, wenn der Raumordnungsplan das nicht verbietet. Sie können Positivflächen für die Windenergienutzung durch die Bauleitplanung ausweisen und so den Ausbau beschleunigen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r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 kann auf den jeweiligen Regionalverband einwirk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um den Regionalplan für die Windenergie neu aufzustellen, um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gionaler Potenziale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(über regionale FNP) auszuweisen.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3" name="TextBox 43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889210" y="7027192"/>
            <a:ext cx="11554521" cy="1884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13469326" y="6989092"/>
            <a:ext cx="4203003" cy="2265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 Beschluss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Gemeinderat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Kommunale Verwaltung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, Genossenschaften, Investor:innen 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1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13636773" y="5715305"/>
            <a:ext cx="4035556" cy="2241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indräder am Ruhbrink</a:t>
            </a:r>
          </a:p>
        </p:txBody>
      </p:sp>
      <p:grpSp>
        <p:nvGrpSpPr>
          <p:cNvPr id="49" name="Group 49"/>
          <p:cNvGrpSpPr/>
          <p:nvPr/>
        </p:nvGrpSpPr>
        <p:grpSpPr>
          <a:xfrm>
            <a:off x="2636084" y="825897"/>
            <a:ext cx="11894274" cy="878205"/>
            <a:chOff x="0" y="-38100"/>
            <a:chExt cx="15859032" cy="1170940"/>
          </a:xfrm>
        </p:grpSpPr>
        <p:sp>
          <p:nvSpPr>
            <p:cNvPr id="50" name="TextBox 50"/>
            <p:cNvSpPr txBox="1"/>
            <p:nvPr/>
          </p:nvSpPr>
          <p:spPr>
            <a:xfrm>
              <a:off x="0" y="456565"/>
              <a:ext cx="15859032" cy="6762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au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von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Windenergieanlag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rmöglich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nterstütz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1" name="TextBox 51"/>
            <p:cNvSpPr txBox="1"/>
            <p:nvPr/>
          </p:nvSpPr>
          <p:spPr>
            <a:xfrm>
              <a:off x="0" y="-38100"/>
              <a:ext cx="1285677" cy="408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1</a:t>
              </a:r>
            </a:p>
          </p:txBody>
        </p:sp>
      </p:grpSp>
      <p:grpSp>
        <p:nvGrpSpPr>
          <p:cNvPr id="52" name="Group 52"/>
          <p:cNvGrpSpPr/>
          <p:nvPr/>
        </p:nvGrpSpPr>
        <p:grpSpPr>
          <a:xfrm>
            <a:off x="615671" y="8279302"/>
            <a:ext cx="188501" cy="188501"/>
            <a:chOff x="0" y="0"/>
            <a:chExt cx="812800" cy="812800"/>
          </a:xfrm>
        </p:grpSpPr>
        <p:sp>
          <p:nvSpPr>
            <p:cNvPr id="53" name="Freeform 5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55" name="Group 55"/>
          <p:cNvGrpSpPr/>
          <p:nvPr/>
        </p:nvGrpSpPr>
        <p:grpSpPr>
          <a:xfrm>
            <a:off x="-15768" y="2273286"/>
            <a:ext cx="352628" cy="7574892"/>
            <a:chOff x="-34161" y="0"/>
            <a:chExt cx="470170" cy="10099857"/>
          </a:xfrm>
        </p:grpSpPr>
        <p:sp>
          <p:nvSpPr>
            <p:cNvPr id="56" name="TextBox 56"/>
            <p:cNvSpPr txBox="1"/>
            <p:nvPr/>
          </p:nvSpPr>
          <p:spPr>
            <a:xfrm rot="16200000">
              <a:off x="-4362268" y="4330542"/>
              <a:ext cx="9128819" cy="46773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K:KK 2023: </a:t>
              </a:r>
              <a:r>
                <a:rPr lang="en-US" sz="900" dirty="0" err="1"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otenzialanalyse</a:t>
              </a:r>
              <a:r>
                <a:rPr lang="en-US" sz="900" dirty="0"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und </a:t>
              </a:r>
              <a:r>
                <a:rPr lang="en-US" sz="900" dirty="0" err="1"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lächenmanagement</a:t>
              </a:r>
              <a:r>
                <a:rPr lang="en-US" sz="900" dirty="0"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für </a:t>
              </a:r>
              <a:r>
                <a:rPr lang="en-US" sz="900" dirty="0" err="1"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rneuerbare</a:t>
              </a:r>
              <a:r>
                <a:rPr lang="en-US" sz="900" dirty="0"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nergien</a:t>
              </a:r>
              <a:r>
                <a:rPr lang="en-US" sz="900" dirty="0"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BA 2022: </a:t>
              </a:r>
              <a:r>
                <a:rPr lang="en-US" sz="900" dirty="0" err="1"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(S. 93)</a:t>
              </a:r>
              <a:r>
                <a:rPr lang="en-US" sz="900" dirty="0"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nnheim </a:t>
              </a:r>
              <a:r>
                <a:rPr lang="en-US" sz="900" dirty="0" err="1"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lächennutzungsplan</a:t>
              </a:r>
              <a:r>
                <a:rPr lang="en-US" sz="900" dirty="0"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indenergie</a:t>
              </a:r>
              <a:endParaRPr lang="en-US" sz="900" dirty="0">
                <a:latin typeface="DM Sans 2" panose="020B0604020202020204" charset="0"/>
                <a:ea typeface="Open Sans"/>
                <a:cs typeface="Open Sans"/>
                <a:sym typeface="Open Sans"/>
                <a:hlinkClick r:id="rId10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7" name="TextBox 57"/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pic>
        <p:nvPicPr>
          <p:cNvPr id="58" name="Grafik 57" descr="Sterne mit einfarbiger Füllung">
            <a:extLst>
              <a:ext uri="{FF2B5EF4-FFF2-40B4-BE49-F238E27FC236}">
                <a16:creationId xmlns:a16="http://schemas.microsoft.com/office/drawing/2014/main" id="{E50D96E9-EE64-E185-0657-A011BC5AA9B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464820" y="9405981"/>
            <a:ext cx="457200" cy="457200"/>
          </a:xfrm>
          <a:prstGeom prst="rect">
            <a:avLst/>
          </a:prstGeom>
        </p:spPr>
      </p:pic>
      <p:sp>
        <p:nvSpPr>
          <p:cNvPr id="59" name="TextBox 34">
            <a:extLst>
              <a:ext uri="{FF2B5EF4-FFF2-40B4-BE49-F238E27FC236}">
                <a16:creationId xmlns:a16="http://schemas.microsoft.com/office/drawing/2014/main" id="{798576BC-4DB6-7610-896C-246CBE9B124B}"/>
              </a:ext>
            </a:extLst>
          </p:cNvPr>
          <p:cNvSpPr txBox="1"/>
          <p:nvPr/>
        </p:nvSpPr>
        <p:spPr>
          <a:xfrm>
            <a:off x="5952715" y="9515869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ürger:innenwindpark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ilershäuser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Wald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10156917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679550" y="429846"/>
            <a:ext cx="1725138" cy="1190179"/>
          </a:xfrm>
          <a:custGeom>
            <a:avLst/>
            <a:gdLst/>
            <a:ahLst/>
            <a:cxnLst/>
            <a:rect l="l" t="t" r="r" b="b"/>
            <a:pathLst>
              <a:path w="1725138" h="1190179">
                <a:moveTo>
                  <a:pt x="0" y="0"/>
                </a:moveTo>
                <a:lnTo>
                  <a:pt x="1725138" y="0"/>
                </a:lnTo>
                <a:lnTo>
                  <a:pt x="1725138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1597380" cy="339603"/>
            <a:chOff x="0" y="0"/>
            <a:chExt cx="2129840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129840" cy="452804"/>
              <a:chOff x="0" y="0"/>
              <a:chExt cx="591622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591622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591622" h="125779">
                    <a:moveTo>
                      <a:pt x="0" y="0"/>
                    </a:moveTo>
                    <a:lnTo>
                      <a:pt x="591622" y="0"/>
                    </a:lnTo>
                    <a:lnTo>
                      <a:pt x="591622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591622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51509" y="18756"/>
              <a:ext cx="202682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Strom-Sektor</a:t>
              </a: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12" name="Group 12"/>
          <p:cNvGrpSpPr/>
          <p:nvPr/>
        </p:nvGrpSpPr>
        <p:grpSpPr>
          <a:xfrm>
            <a:off x="615671" y="7151017"/>
            <a:ext cx="188501" cy="188501"/>
            <a:chOff x="0" y="0"/>
            <a:chExt cx="812800" cy="81280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TextBox 14"/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grpSp>
        <p:nvGrpSpPr>
          <p:cNvPr id="21" name="Group 21"/>
          <p:cNvGrpSpPr/>
          <p:nvPr/>
        </p:nvGrpSpPr>
        <p:grpSpPr>
          <a:xfrm>
            <a:off x="515733" y="9389915"/>
            <a:ext cx="2463783" cy="440591"/>
            <a:chOff x="0" y="0"/>
            <a:chExt cx="696893" cy="124623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TextBox 23"/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4" name="Freeform 34"/>
          <p:cNvSpPr/>
          <p:nvPr/>
        </p:nvSpPr>
        <p:spPr>
          <a:xfrm>
            <a:off x="639558" y="9493549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8" name="TextBox 38"/>
          <p:cNvSpPr txBox="1"/>
          <p:nvPr/>
        </p:nvSpPr>
        <p:spPr>
          <a:xfrm>
            <a:off x="911172" y="9488700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2" name="TextBox 42"/>
          <p:cNvSpPr txBox="1"/>
          <p:nvPr/>
        </p:nvSpPr>
        <p:spPr>
          <a:xfrm>
            <a:off x="517221" y="2150128"/>
            <a:ext cx="12097407" cy="420531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politik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an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bau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reifläch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-PV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möglich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euni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 Bold"/>
              <a:cs typeface="DM Sans 2 Bold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Durchführung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iner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Solarpotenzialanalys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reiflächen-Solaranla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Ausweisung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Vorzugsfläch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olarpotenzialanalys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ird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eunig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en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leitplan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jeweili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nlage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ungsrechtli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ra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genüb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hab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kom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omi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tsteh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ungssicherhei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.B.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gü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vestor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schiedli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Finanzierungsmöglichkeiten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aufzei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ründ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/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stü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ürgerEnergiegenossenschaf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winn-Beteilig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ürger:in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Ort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möglich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Naturverträglich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Gestalt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olarpark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ntakti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Aktivierung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igentümer:innen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Fläch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/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gentümeri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reifläch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bau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reifläch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-PV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lbs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a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ri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889210" y="7027192"/>
            <a:ext cx="11554521" cy="1884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13469326" y="6989092"/>
            <a:ext cx="4203003" cy="2265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 Beschluss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Gemeinderat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Kommunale Verwaltung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, Genossenschaften, Investor:innen 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2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13636773" y="5715305"/>
            <a:ext cx="4035556" cy="4515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Freiflächen</a:t>
            </a:r>
            <a:r>
              <a:rPr lang="en-US" sz="12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PV-Anlage</a:t>
            </a:r>
          </a:p>
          <a:p>
            <a:pPr algn="ctr">
              <a:lnSpc>
                <a:spcPts val="1819"/>
              </a:lnSpc>
            </a:pP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900" dirty="0">
              <a:solidFill>
                <a:srgbClr val="112540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49" name="Group 49"/>
          <p:cNvGrpSpPr/>
          <p:nvPr/>
        </p:nvGrpSpPr>
        <p:grpSpPr>
          <a:xfrm>
            <a:off x="2636084" y="825897"/>
            <a:ext cx="11894274" cy="884858"/>
            <a:chOff x="0" y="-38100"/>
            <a:chExt cx="15859032" cy="1179810"/>
          </a:xfrm>
        </p:grpSpPr>
        <p:sp>
          <p:nvSpPr>
            <p:cNvPr id="50" name="TextBox 50"/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au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von PV-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Flächenanlag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rmöglich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nterstütz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1" name="TextBox 51"/>
            <p:cNvSpPr txBox="1"/>
            <p:nvPr/>
          </p:nvSpPr>
          <p:spPr>
            <a:xfrm>
              <a:off x="0" y="-38100"/>
              <a:ext cx="1285677" cy="408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2</a:t>
              </a:r>
            </a:p>
          </p:txBody>
        </p:sp>
      </p:grpSp>
      <p:grpSp>
        <p:nvGrpSpPr>
          <p:cNvPr id="52" name="Group 52"/>
          <p:cNvGrpSpPr/>
          <p:nvPr/>
        </p:nvGrpSpPr>
        <p:grpSpPr>
          <a:xfrm>
            <a:off x="615671" y="8279302"/>
            <a:ext cx="188501" cy="188501"/>
            <a:chOff x="0" y="0"/>
            <a:chExt cx="812800" cy="812800"/>
          </a:xfrm>
        </p:grpSpPr>
        <p:sp>
          <p:nvSpPr>
            <p:cNvPr id="53" name="Freeform 5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>
                <a:solidFill>
                  <a:srgbClr val="112540"/>
                </a:solidFill>
              </a:endParaRP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grpSp>
        <p:nvGrpSpPr>
          <p:cNvPr id="61" name="Group 55">
            <a:extLst>
              <a:ext uri="{FF2B5EF4-FFF2-40B4-BE49-F238E27FC236}">
                <a16:creationId xmlns:a16="http://schemas.microsoft.com/office/drawing/2014/main" id="{1A2021D9-F35C-107C-FDE3-B69F59C1B4E5}"/>
              </a:ext>
            </a:extLst>
          </p:cNvPr>
          <p:cNvGrpSpPr/>
          <p:nvPr/>
        </p:nvGrpSpPr>
        <p:grpSpPr>
          <a:xfrm>
            <a:off x="-15768" y="2291998"/>
            <a:ext cx="177229" cy="7556180"/>
            <a:chOff x="-34161" y="24949"/>
            <a:chExt cx="236304" cy="10074908"/>
          </a:xfrm>
        </p:grpSpPr>
        <p:sp>
          <p:nvSpPr>
            <p:cNvPr id="62" name="TextBox 56">
              <a:extLst>
                <a:ext uri="{FF2B5EF4-FFF2-40B4-BE49-F238E27FC236}">
                  <a16:creationId xmlns:a16="http://schemas.microsoft.com/office/drawing/2014/main" id="{7614C5BE-5CF4-FE5A-5B04-D4780765D840}"/>
                </a:ext>
              </a:extLst>
            </p:cNvPr>
            <p:cNvSpPr txBox="1"/>
            <p:nvPr/>
          </p:nvSpPr>
          <p:spPr>
            <a:xfrm rot="16200000">
              <a:off x="-4474006" y="4477619"/>
              <a:ext cx="9128820" cy="22347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K:KK 2023: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otenzialanalyse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und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lächenmanagement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für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rneuerbare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nergi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olarPotenzialAnalyse Marburg 2022</a:t>
              </a:r>
              <a:endParaRPr lang="en-US" sz="900" dirty="0">
                <a:solidFill>
                  <a:srgbClr val="112540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10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3" name="TextBox 57">
              <a:extLst>
                <a:ext uri="{FF2B5EF4-FFF2-40B4-BE49-F238E27FC236}">
                  <a16:creationId xmlns:a16="http://schemas.microsoft.com/office/drawing/2014/main" id="{2F546516-25AF-E811-263B-087DF8A2EFDF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55" name="Group 27">
            <a:extLst>
              <a:ext uri="{FF2B5EF4-FFF2-40B4-BE49-F238E27FC236}">
                <a16:creationId xmlns:a16="http://schemas.microsoft.com/office/drawing/2014/main" id="{530C8ECB-1BE1-15D7-E5DB-C6D3E42F729E}"/>
              </a:ext>
            </a:extLst>
          </p:cNvPr>
          <p:cNvGrpSpPr/>
          <p:nvPr/>
        </p:nvGrpSpPr>
        <p:grpSpPr>
          <a:xfrm>
            <a:off x="3103341" y="9389915"/>
            <a:ext cx="1996897" cy="440591"/>
            <a:chOff x="0" y="0"/>
            <a:chExt cx="564832" cy="124623"/>
          </a:xfrm>
        </p:grpSpPr>
        <p:sp>
          <p:nvSpPr>
            <p:cNvPr id="56" name="Freeform 28">
              <a:extLst>
                <a:ext uri="{FF2B5EF4-FFF2-40B4-BE49-F238E27FC236}">
                  <a16:creationId xmlns:a16="http://schemas.microsoft.com/office/drawing/2014/main" id="{26E56B83-E74F-0271-3DEE-CA539A6E28A1}"/>
                </a:ext>
              </a:extLst>
            </p:cNvPr>
            <p:cNvSpPr/>
            <p:nvPr/>
          </p:nvSpPr>
          <p:spPr>
            <a:xfrm>
              <a:off x="0" y="0"/>
              <a:ext cx="564832" cy="124623"/>
            </a:xfrm>
            <a:custGeom>
              <a:avLst/>
              <a:gdLst/>
              <a:ahLst/>
              <a:cxnLst/>
              <a:rect l="l" t="t" r="r" b="b"/>
              <a:pathLst>
                <a:path w="564832" h="124623">
                  <a:moveTo>
                    <a:pt x="62312" y="0"/>
                  </a:moveTo>
                  <a:lnTo>
                    <a:pt x="502520" y="0"/>
                  </a:lnTo>
                  <a:cubicBezTo>
                    <a:pt x="536934" y="0"/>
                    <a:pt x="564832" y="27898"/>
                    <a:pt x="564832" y="62312"/>
                  </a:cubicBezTo>
                  <a:lnTo>
                    <a:pt x="564832" y="62312"/>
                  </a:lnTo>
                  <a:cubicBezTo>
                    <a:pt x="564832" y="78838"/>
                    <a:pt x="558267" y="94687"/>
                    <a:pt x="546581" y="106373"/>
                  </a:cubicBezTo>
                  <a:cubicBezTo>
                    <a:pt x="534896" y="118058"/>
                    <a:pt x="519046" y="124623"/>
                    <a:pt x="502520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TextBox 29">
              <a:extLst>
                <a:ext uri="{FF2B5EF4-FFF2-40B4-BE49-F238E27FC236}">
                  <a16:creationId xmlns:a16="http://schemas.microsoft.com/office/drawing/2014/main" id="{3D8DDA69-CD73-79F1-AD0F-A4D086EB3210}"/>
                </a:ext>
              </a:extLst>
            </p:cNvPr>
            <p:cNvSpPr txBox="1"/>
            <p:nvPr/>
          </p:nvSpPr>
          <p:spPr>
            <a:xfrm>
              <a:off x="0" y="-28575"/>
              <a:ext cx="564832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8" name="Freeform 31">
            <a:extLst>
              <a:ext uri="{FF2B5EF4-FFF2-40B4-BE49-F238E27FC236}">
                <a16:creationId xmlns:a16="http://schemas.microsoft.com/office/drawing/2014/main" id="{4F8A9916-331C-2D19-3BBD-6B6543BA7F1D}"/>
              </a:ext>
            </a:extLst>
          </p:cNvPr>
          <p:cNvSpPr/>
          <p:nvPr/>
        </p:nvSpPr>
        <p:spPr>
          <a:xfrm>
            <a:off x="3247403" y="9499356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9" name="TextBox 40">
            <a:extLst>
              <a:ext uri="{FF2B5EF4-FFF2-40B4-BE49-F238E27FC236}">
                <a16:creationId xmlns:a16="http://schemas.microsoft.com/office/drawing/2014/main" id="{9B76F08A-D5E1-924E-6098-0D4BA5F3CCCB}"/>
              </a:ext>
            </a:extLst>
          </p:cNvPr>
          <p:cNvSpPr txBox="1"/>
          <p:nvPr/>
        </p:nvSpPr>
        <p:spPr>
          <a:xfrm>
            <a:off x="3528350" y="9482894"/>
            <a:ext cx="145174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tschaftlich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8471092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Flussdiagramm: Verbinder 64">
            <a:extLst>
              <a:ext uri="{FF2B5EF4-FFF2-40B4-BE49-F238E27FC236}">
                <a16:creationId xmlns:a16="http://schemas.microsoft.com/office/drawing/2014/main" id="{19FB7CF0-1693-6CC3-CB7A-74AC26E67C1A}"/>
              </a:ext>
            </a:extLst>
          </p:cNvPr>
          <p:cNvSpPr/>
          <p:nvPr/>
        </p:nvSpPr>
        <p:spPr>
          <a:xfrm>
            <a:off x="615671" y="7127994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679550" y="429846"/>
            <a:ext cx="1725138" cy="1190179"/>
          </a:xfrm>
          <a:custGeom>
            <a:avLst/>
            <a:gdLst/>
            <a:ahLst/>
            <a:cxnLst/>
            <a:rect l="l" t="t" r="r" b="b"/>
            <a:pathLst>
              <a:path w="1725138" h="1190179">
                <a:moveTo>
                  <a:pt x="0" y="0"/>
                </a:moveTo>
                <a:lnTo>
                  <a:pt x="1725138" y="0"/>
                </a:lnTo>
                <a:lnTo>
                  <a:pt x="1725138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1597380" cy="339603"/>
            <a:chOff x="0" y="0"/>
            <a:chExt cx="2129840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129840" cy="452804"/>
              <a:chOff x="0" y="0"/>
              <a:chExt cx="591622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591622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591622" h="125779">
                    <a:moveTo>
                      <a:pt x="0" y="0"/>
                    </a:moveTo>
                    <a:lnTo>
                      <a:pt x="591622" y="0"/>
                    </a:lnTo>
                    <a:lnTo>
                      <a:pt x="591622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591622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51509" y="18756"/>
              <a:ext cx="202682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Strom-Sektor</a:t>
              </a: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18" name="Group 18"/>
          <p:cNvGrpSpPr/>
          <p:nvPr/>
        </p:nvGrpSpPr>
        <p:grpSpPr>
          <a:xfrm>
            <a:off x="2876996" y="9407587"/>
            <a:ext cx="2341249" cy="440591"/>
            <a:chOff x="0" y="0"/>
            <a:chExt cx="662234" cy="124623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662234" cy="124623"/>
            </a:xfrm>
            <a:custGeom>
              <a:avLst/>
              <a:gdLst/>
              <a:ahLst/>
              <a:cxnLst/>
              <a:rect l="l" t="t" r="r" b="b"/>
              <a:pathLst>
                <a:path w="662234" h="124623">
                  <a:moveTo>
                    <a:pt x="62312" y="0"/>
                  </a:moveTo>
                  <a:lnTo>
                    <a:pt x="599922" y="0"/>
                  </a:lnTo>
                  <a:cubicBezTo>
                    <a:pt x="616448" y="0"/>
                    <a:pt x="632297" y="6565"/>
                    <a:pt x="643983" y="18251"/>
                  </a:cubicBezTo>
                  <a:cubicBezTo>
                    <a:pt x="655669" y="29936"/>
                    <a:pt x="662234" y="45786"/>
                    <a:pt x="662234" y="62312"/>
                  </a:cubicBezTo>
                  <a:lnTo>
                    <a:pt x="662234" y="62312"/>
                  </a:lnTo>
                  <a:cubicBezTo>
                    <a:pt x="662234" y="78838"/>
                    <a:pt x="655669" y="94687"/>
                    <a:pt x="643983" y="106373"/>
                  </a:cubicBezTo>
                  <a:cubicBezTo>
                    <a:pt x="632297" y="118058"/>
                    <a:pt x="616448" y="124623"/>
                    <a:pt x="59992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0" y="-28575"/>
              <a:ext cx="662234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grpSp>
        <p:nvGrpSpPr>
          <p:cNvPr id="21" name="Group 21"/>
          <p:cNvGrpSpPr/>
          <p:nvPr/>
        </p:nvGrpSpPr>
        <p:grpSpPr>
          <a:xfrm>
            <a:off x="5332545" y="9407587"/>
            <a:ext cx="2463783" cy="440591"/>
            <a:chOff x="0" y="0"/>
            <a:chExt cx="696893" cy="124623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TextBox 23"/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grpSp>
        <p:nvGrpSpPr>
          <p:cNvPr id="27" name="Group 27"/>
          <p:cNvGrpSpPr/>
          <p:nvPr/>
        </p:nvGrpSpPr>
        <p:grpSpPr>
          <a:xfrm>
            <a:off x="7904720" y="9407587"/>
            <a:ext cx="1996897" cy="440591"/>
            <a:chOff x="0" y="0"/>
            <a:chExt cx="564832" cy="124623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564832" cy="124623"/>
            </a:xfrm>
            <a:custGeom>
              <a:avLst/>
              <a:gdLst/>
              <a:ahLst/>
              <a:cxnLst/>
              <a:rect l="l" t="t" r="r" b="b"/>
              <a:pathLst>
                <a:path w="564832" h="124623">
                  <a:moveTo>
                    <a:pt x="62312" y="0"/>
                  </a:moveTo>
                  <a:lnTo>
                    <a:pt x="502520" y="0"/>
                  </a:lnTo>
                  <a:cubicBezTo>
                    <a:pt x="536934" y="0"/>
                    <a:pt x="564832" y="27898"/>
                    <a:pt x="564832" y="62312"/>
                  </a:cubicBezTo>
                  <a:lnTo>
                    <a:pt x="564832" y="62312"/>
                  </a:lnTo>
                  <a:cubicBezTo>
                    <a:pt x="564832" y="78838"/>
                    <a:pt x="558267" y="94687"/>
                    <a:pt x="546581" y="106373"/>
                  </a:cubicBezTo>
                  <a:cubicBezTo>
                    <a:pt x="534896" y="118058"/>
                    <a:pt x="519046" y="124623"/>
                    <a:pt x="502520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Box 29"/>
            <p:cNvSpPr txBox="1"/>
            <p:nvPr/>
          </p:nvSpPr>
          <p:spPr>
            <a:xfrm>
              <a:off x="0" y="-28575"/>
              <a:ext cx="564832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1" name="Freeform 31"/>
          <p:cNvSpPr/>
          <p:nvPr/>
        </p:nvSpPr>
        <p:spPr>
          <a:xfrm>
            <a:off x="8048782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3" name="Freeform 33"/>
          <p:cNvSpPr/>
          <p:nvPr/>
        </p:nvSpPr>
        <p:spPr>
          <a:xfrm>
            <a:off x="2996849" y="950344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3" y="0"/>
                </a:lnTo>
                <a:lnTo>
                  <a:pt x="233323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4" name="Freeform 34"/>
          <p:cNvSpPr/>
          <p:nvPr/>
        </p:nvSpPr>
        <p:spPr>
          <a:xfrm>
            <a:off x="5456370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7" name="TextBox 37"/>
          <p:cNvSpPr txBox="1"/>
          <p:nvPr/>
        </p:nvSpPr>
        <p:spPr>
          <a:xfrm>
            <a:off x="3277797" y="9500566"/>
            <a:ext cx="1765348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HG-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sparpotenzial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38" name="TextBox 38"/>
          <p:cNvSpPr txBox="1"/>
          <p:nvPr/>
        </p:nvSpPr>
        <p:spPr>
          <a:xfrm>
            <a:off x="5727984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0" name="TextBox 40"/>
          <p:cNvSpPr txBox="1"/>
          <p:nvPr/>
        </p:nvSpPr>
        <p:spPr>
          <a:xfrm>
            <a:off x="8329729" y="9500566"/>
            <a:ext cx="145174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tschaftlich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2" name="TextBox 42"/>
          <p:cNvSpPr txBox="1"/>
          <p:nvPr/>
        </p:nvSpPr>
        <p:spPr>
          <a:xfrm>
            <a:off x="517221" y="2150128"/>
            <a:ext cx="12097407" cy="305115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Verwaltung prüft, welche kommunalen Dächer mit PV-Anlagen belegt werden können und verbaut auf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len Potenzialflächen PV-Anlagen. Dazu gehört</a:t>
            </a:r>
          </a:p>
          <a:p>
            <a:pPr algn="l">
              <a:lnSpc>
                <a:spcPts val="3039"/>
              </a:lnSpc>
            </a:pPr>
            <a:endParaRPr lang="de-DE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üfpflicht bei Neubau und Sanierung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r Nutzung von PV oder Solarthermie (Gebäude-Energie-Gesetz) und generelle Eignungsprüfung der kommunalen Dachflächen (teils in Bundesländern bereits verpflichtend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vestitionen in PV-Anlag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z.B. durch aktive Vermarktung der kommunalen Flächen (Aufbau und Pflege eines Katasters) bzw. eigene Investitionen, Initiierung von Energiegenossenschaften oder </a:t>
            </a:r>
            <a:r>
              <a:rPr lang="de-DE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Contracti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3" name="TextBox 43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se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rombezug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neuerbar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rom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13469326" y="6989092"/>
            <a:ext cx="4203003" cy="26664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ohnungsbaugesellschaf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genossenschaft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6979886" y="9541473"/>
            <a:ext cx="824501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3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13636773" y="5715305"/>
            <a:ext cx="4035556" cy="4515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Dach</a:t>
            </a:r>
            <a:r>
              <a:rPr lang="en-US" sz="12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-PV-Anlage auf </a:t>
            </a:r>
            <a:r>
              <a:rPr lang="en-US" sz="12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einer</a:t>
            </a:r>
            <a:r>
              <a:rPr lang="en-US" sz="12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öffentlichen</a:t>
            </a:r>
            <a:r>
              <a:rPr lang="en-US" sz="12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Schule</a:t>
            </a:r>
          </a:p>
          <a:p>
            <a:pPr algn="ctr">
              <a:lnSpc>
                <a:spcPts val="1819"/>
              </a:lnSpc>
            </a:pP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900" dirty="0">
              <a:solidFill>
                <a:srgbClr val="112540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49" name="Group 49"/>
          <p:cNvGrpSpPr/>
          <p:nvPr/>
        </p:nvGrpSpPr>
        <p:grpSpPr>
          <a:xfrm>
            <a:off x="2636084" y="825897"/>
            <a:ext cx="11894274" cy="884858"/>
            <a:chOff x="0" y="-38100"/>
            <a:chExt cx="15859032" cy="1179810"/>
          </a:xfrm>
        </p:grpSpPr>
        <p:sp>
          <p:nvSpPr>
            <p:cNvPr id="50" name="TextBox 50"/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leg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lle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ommunen-eigen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Dachfläch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mit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PV-Anlagen</a:t>
              </a:r>
            </a:p>
          </p:txBody>
        </p:sp>
        <p:sp>
          <p:nvSpPr>
            <p:cNvPr id="51" name="TextBox 51"/>
            <p:cNvSpPr txBox="1"/>
            <p:nvPr/>
          </p:nvSpPr>
          <p:spPr>
            <a:xfrm>
              <a:off x="0" y="-38100"/>
              <a:ext cx="1495411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3</a:t>
              </a:r>
            </a:p>
          </p:txBody>
        </p:sp>
      </p:grpSp>
      <p:grpSp>
        <p:nvGrpSpPr>
          <p:cNvPr id="61" name="Group 55">
            <a:extLst>
              <a:ext uri="{FF2B5EF4-FFF2-40B4-BE49-F238E27FC236}">
                <a16:creationId xmlns:a16="http://schemas.microsoft.com/office/drawing/2014/main" id="{1A2021D9-F35C-107C-FDE3-B69F59C1B4E5}"/>
              </a:ext>
            </a:extLst>
          </p:cNvPr>
          <p:cNvGrpSpPr/>
          <p:nvPr/>
        </p:nvGrpSpPr>
        <p:grpSpPr>
          <a:xfrm>
            <a:off x="-15768" y="2291998"/>
            <a:ext cx="177229" cy="7556180"/>
            <a:chOff x="-34161" y="24949"/>
            <a:chExt cx="236304" cy="10074908"/>
          </a:xfrm>
        </p:grpSpPr>
        <p:sp>
          <p:nvSpPr>
            <p:cNvPr id="62" name="TextBox 56">
              <a:extLst>
                <a:ext uri="{FF2B5EF4-FFF2-40B4-BE49-F238E27FC236}">
                  <a16:creationId xmlns:a16="http://schemas.microsoft.com/office/drawing/2014/main" id="{7614C5BE-5CF4-FE5A-5B04-D4780765D840}"/>
                </a:ext>
              </a:extLst>
            </p:cNvPr>
            <p:cNvSpPr txBox="1"/>
            <p:nvPr/>
          </p:nvSpPr>
          <p:spPr>
            <a:xfrm rot="16200000">
              <a:off x="-4474006" y="4477619"/>
              <a:ext cx="9128820" cy="22347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BA 2022: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, S. 84 f.</a:t>
              </a:r>
              <a:endParaRPr lang="en-US" sz="900" dirty="0">
                <a:solidFill>
                  <a:srgbClr val="112540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9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3" name="TextBox 57">
              <a:extLst>
                <a:ext uri="{FF2B5EF4-FFF2-40B4-BE49-F238E27FC236}">
                  <a16:creationId xmlns:a16="http://schemas.microsoft.com/office/drawing/2014/main" id="{2F546516-25AF-E811-263B-087DF8A2EFDF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D19EFD0-0BAB-DD02-5374-D7BD1EEC74FB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1730D8F8-C178-5168-11BC-B0873CCB162A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FD8ED40-4C49-36BD-B330-D7B2876BAFED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2" name="TextBox 37">
            <a:extLst>
              <a:ext uri="{FF2B5EF4-FFF2-40B4-BE49-F238E27FC236}">
                <a16:creationId xmlns:a16="http://schemas.microsoft.com/office/drawing/2014/main" id="{FAD5F0A4-DE50-FC7B-A6B0-3C835435AD6A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53" name="Freeform 26">
            <a:extLst>
              <a:ext uri="{FF2B5EF4-FFF2-40B4-BE49-F238E27FC236}">
                <a16:creationId xmlns:a16="http://schemas.microsoft.com/office/drawing/2014/main" id="{F9039450-4B13-4AE5-D4E2-B8D131813F2C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4252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679550" y="429846"/>
            <a:ext cx="1725138" cy="1190179"/>
          </a:xfrm>
          <a:custGeom>
            <a:avLst/>
            <a:gdLst/>
            <a:ahLst/>
            <a:cxnLst/>
            <a:rect l="l" t="t" r="r" b="b"/>
            <a:pathLst>
              <a:path w="1725138" h="1190179">
                <a:moveTo>
                  <a:pt x="0" y="0"/>
                </a:moveTo>
                <a:lnTo>
                  <a:pt x="1725138" y="0"/>
                </a:lnTo>
                <a:lnTo>
                  <a:pt x="1725138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1597380" cy="339603"/>
            <a:chOff x="0" y="0"/>
            <a:chExt cx="2129840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129840" cy="452804"/>
              <a:chOff x="0" y="0"/>
              <a:chExt cx="591622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591622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591622" h="125779">
                    <a:moveTo>
                      <a:pt x="0" y="0"/>
                    </a:moveTo>
                    <a:lnTo>
                      <a:pt x="591622" y="0"/>
                    </a:lnTo>
                    <a:lnTo>
                      <a:pt x="591622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591622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51509" y="18756"/>
              <a:ext cx="202682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Strom-Sektor</a:t>
              </a: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12" name="Group 12"/>
          <p:cNvGrpSpPr/>
          <p:nvPr/>
        </p:nvGrpSpPr>
        <p:grpSpPr>
          <a:xfrm>
            <a:off x="615671" y="7114705"/>
            <a:ext cx="188501" cy="188501"/>
            <a:chOff x="0" y="0"/>
            <a:chExt cx="812800" cy="81280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AED8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TextBox 14"/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TextBox 17"/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grpSp>
        <p:nvGrpSpPr>
          <p:cNvPr id="21" name="Group 21"/>
          <p:cNvGrpSpPr/>
          <p:nvPr/>
        </p:nvGrpSpPr>
        <p:grpSpPr>
          <a:xfrm>
            <a:off x="2888124" y="9407587"/>
            <a:ext cx="2463783" cy="440591"/>
            <a:chOff x="0" y="0"/>
            <a:chExt cx="696893" cy="124623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TextBox 23"/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0" name="Freeform 30"/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4" name="Freeform 34"/>
          <p:cNvSpPr/>
          <p:nvPr/>
        </p:nvSpPr>
        <p:spPr>
          <a:xfrm>
            <a:off x="3011949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6"/>
              <a:stretch>
                <a:fillRect l="-6221" r="-6221"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8" name="TextBox 38"/>
          <p:cNvSpPr txBox="1"/>
          <p:nvPr/>
        </p:nvSpPr>
        <p:spPr>
          <a:xfrm>
            <a:off x="3283563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1" name="TextBox 41"/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2" name="TextBox 42"/>
          <p:cNvSpPr txBox="1"/>
          <p:nvPr/>
        </p:nvSpPr>
        <p:spPr>
          <a:xfrm>
            <a:off x="517221" y="2150128"/>
            <a:ext cx="12097407" cy="305115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ell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hr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rombezu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m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ächstmöglich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eitpunk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uf die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Nutzung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qualifiziertem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Ökostrom 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. </a:t>
            </a: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schreibt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die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Strommeng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ca. alle 2 – 4 Jahre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aus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ächs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schreib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ird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bie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alifizier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 Ökostrom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such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gewähl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Anbieter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üssen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indestens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folgend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Kriterien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rfüll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euanlagenquo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Reinvest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e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winnanteil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i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euanla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ide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n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m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bau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EE-Anlagen)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ei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kauf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fossil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zeugtem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rom.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889210" y="7027192"/>
            <a:ext cx="11554521" cy="1122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 Maßnahme: </a:t>
            </a:r>
          </a:p>
          <a:p>
            <a:pPr algn="l">
              <a:lnSpc>
                <a:spcPts val="3039"/>
              </a:lnSpc>
            </a:pP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 durch Ersetzung des Strombezugs durch erneuerbaren Strom</a:t>
            </a:r>
          </a:p>
          <a:p>
            <a:pPr algn="l">
              <a:lnSpc>
                <a:spcPts val="3039"/>
              </a:lnSpc>
            </a:pPr>
            <a:endParaRPr lang="en-US" sz="1899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13469326" y="6989092"/>
            <a:ext cx="4203003" cy="1503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 Beschluss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Gemeinderat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Kommunale Verwaltung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6916400" y="9541473"/>
            <a:ext cx="8879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4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rommast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112540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49" name="Group 49"/>
          <p:cNvGrpSpPr/>
          <p:nvPr/>
        </p:nvGrpSpPr>
        <p:grpSpPr>
          <a:xfrm>
            <a:off x="2636084" y="292497"/>
            <a:ext cx="11894274" cy="1411605"/>
            <a:chOff x="0" y="-38100"/>
            <a:chExt cx="15859032" cy="1882140"/>
          </a:xfrm>
        </p:grpSpPr>
        <p:sp>
          <p:nvSpPr>
            <p:cNvPr id="50" name="TextBox 50"/>
            <p:cNvSpPr txBox="1"/>
            <p:nvPr/>
          </p:nvSpPr>
          <p:spPr>
            <a:xfrm>
              <a:off x="0" y="456565"/>
              <a:ext cx="15859032" cy="13874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ommun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zieht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für alle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igen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Liegenschaft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nu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noch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qualifiziert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Ökostrom</a:t>
              </a:r>
            </a:p>
          </p:txBody>
        </p:sp>
        <p:sp>
          <p:nvSpPr>
            <p:cNvPr id="51" name="TextBox 51"/>
            <p:cNvSpPr txBox="1"/>
            <p:nvPr/>
          </p:nvSpPr>
          <p:spPr>
            <a:xfrm>
              <a:off x="0" y="-38100"/>
              <a:ext cx="1882048" cy="408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4</a:t>
              </a:r>
            </a:p>
          </p:txBody>
        </p:sp>
      </p:grpSp>
      <p:grpSp>
        <p:nvGrpSpPr>
          <p:cNvPr id="55" name="Group 55">
            <a:extLst>
              <a:ext uri="{FF2B5EF4-FFF2-40B4-BE49-F238E27FC236}">
                <a16:creationId xmlns:a16="http://schemas.microsoft.com/office/drawing/2014/main" id="{9CFB1D60-B08B-36B7-7BFD-03B44FDEC943}"/>
              </a:ext>
            </a:extLst>
          </p:cNvPr>
          <p:cNvGrpSpPr/>
          <p:nvPr/>
        </p:nvGrpSpPr>
        <p:grpSpPr>
          <a:xfrm>
            <a:off x="-15768" y="2291998"/>
            <a:ext cx="177229" cy="7556180"/>
            <a:chOff x="-34161" y="24949"/>
            <a:chExt cx="236304" cy="10074908"/>
          </a:xfrm>
        </p:grpSpPr>
        <p:sp>
          <p:nvSpPr>
            <p:cNvPr id="56" name="TextBox 56">
              <a:extLst>
                <a:ext uri="{FF2B5EF4-FFF2-40B4-BE49-F238E27FC236}">
                  <a16:creationId xmlns:a16="http://schemas.microsoft.com/office/drawing/2014/main" id="{B37F96FE-B70A-C99C-A616-E53FBD3FCEB4}"/>
                </a:ext>
              </a:extLst>
            </p:cNvPr>
            <p:cNvSpPr txBox="1"/>
            <p:nvPr/>
          </p:nvSpPr>
          <p:spPr>
            <a:xfrm rot="16200000">
              <a:off x="-4474006" y="4477619"/>
              <a:ext cx="9128820" cy="22347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mweltbundesamt 2022: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it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Ökostrom das Klima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chützen</a:t>
              </a:r>
              <a:endParaRPr lang="en-US" sz="900" dirty="0">
                <a:solidFill>
                  <a:srgbClr val="112540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9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7" name="TextBox 57">
              <a:extLst>
                <a:ext uri="{FF2B5EF4-FFF2-40B4-BE49-F238E27FC236}">
                  <a16:creationId xmlns:a16="http://schemas.microsoft.com/office/drawing/2014/main" id="{FD66A8C9-CAFD-69DD-26A2-DD9FC623A038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pic>
        <p:nvPicPr>
          <p:cNvPr id="52" name="Grafik 51" descr="Sterne mit einfarbiger Füllung">
            <a:extLst>
              <a:ext uri="{FF2B5EF4-FFF2-40B4-BE49-F238E27FC236}">
                <a16:creationId xmlns:a16="http://schemas.microsoft.com/office/drawing/2014/main" id="{4BA18AA5-CA30-A840-DD78-CCDF03CEF1B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64820" y="9405981"/>
            <a:ext cx="457200" cy="457200"/>
          </a:xfrm>
          <a:prstGeom prst="rect">
            <a:avLst/>
          </a:prstGeom>
        </p:spPr>
      </p:pic>
      <p:sp>
        <p:nvSpPr>
          <p:cNvPr id="53" name="TextBox 34">
            <a:extLst>
              <a:ext uri="{FF2B5EF4-FFF2-40B4-BE49-F238E27FC236}">
                <a16:creationId xmlns:a16="http://schemas.microsoft.com/office/drawing/2014/main" id="{7B7679B3-E451-0120-490C-13B62E291318}"/>
              </a:ext>
            </a:extLst>
          </p:cNvPr>
          <p:cNvSpPr txBox="1"/>
          <p:nvPr/>
        </p:nvSpPr>
        <p:spPr>
          <a:xfrm>
            <a:off x="5952715" y="9515869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Ökostrombezug Landkreis Lahr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679550" y="429846"/>
            <a:ext cx="1725138" cy="1190179"/>
          </a:xfrm>
          <a:custGeom>
            <a:avLst/>
            <a:gdLst/>
            <a:ahLst/>
            <a:cxnLst/>
            <a:rect l="l" t="t" r="r" b="b"/>
            <a:pathLst>
              <a:path w="1725138" h="1190179">
                <a:moveTo>
                  <a:pt x="0" y="0"/>
                </a:moveTo>
                <a:lnTo>
                  <a:pt x="1725138" y="0"/>
                </a:lnTo>
                <a:lnTo>
                  <a:pt x="1725138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1597380" cy="339603"/>
            <a:chOff x="0" y="0"/>
            <a:chExt cx="2129840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129840" cy="452804"/>
              <a:chOff x="0" y="0"/>
              <a:chExt cx="591622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591622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591622" h="125779">
                    <a:moveTo>
                      <a:pt x="0" y="0"/>
                    </a:moveTo>
                    <a:lnTo>
                      <a:pt x="591622" y="0"/>
                    </a:lnTo>
                    <a:lnTo>
                      <a:pt x="591622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591622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51509" y="18756"/>
              <a:ext cx="202682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Strom-Sektor</a:t>
              </a: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2" name="TextBox 42"/>
          <p:cNvSpPr txBox="1"/>
          <p:nvPr/>
        </p:nvSpPr>
        <p:spPr>
          <a:xfrm>
            <a:off x="517221" y="2150128"/>
            <a:ext cx="12097407" cy="305115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Kommune legt Förderprogramme für PV-Anlagen auf, die mind. folgende Punkte umfassen:</a:t>
            </a:r>
          </a:p>
          <a:p>
            <a:pPr algn="l">
              <a:lnSpc>
                <a:spcPts val="3039"/>
              </a:lnSpc>
            </a:pPr>
            <a:endParaRPr lang="de-DE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bereitung: Di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richtung eines PV-Katasters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um Solarpotenziale im Vorfeld abzuschätzen (oftmals auf Bundeslandebene schon vorhanden, siehe Quellen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örderung von PV-Dach-Anlagen für private Haushalte und Unternehmen. Besonders wichtig: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örderung nichtwirtschaftlicher Anlagen(-teile)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amit größtmögliche PV-Potenziale genutzt werden 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örderung von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ni-PV-Anlag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„Balkonkraftwerken“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örderung von </a:t>
            </a:r>
            <a:r>
              <a:rPr lang="de-DE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eter:innen-Strom-Projekten</a:t>
            </a:r>
            <a:endParaRPr lang="en-US" sz="1899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3" name="TextBox 43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13469326" y="6989092"/>
            <a:ext cx="4203003" cy="26664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ördermittelbeschluss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stütz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.B.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ohnungsbaugesellschaft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irtschaftsför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.ä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6979886" y="9541473"/>
            <a:ext cx="824501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5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13636773" y="5715305"/>
            <a:ext cx="4035556" cy="68243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Solarförderung</a:t>
            </a:r>
            <a:r>
              <a:rPr lang="en-US" sz="12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In Osnabrück </a:t>
            </a:r>
            <a:r>
              <a:rPr lang="en-US" sz="12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2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das </a:t>
            </a:r>
            <a:r>
              <a:rPr lang="en-US" sz="12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Programm</a:t>
            </a:r>
            <a:r>
              <a:rPr lang="en-US" sz="12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“</a:t>
            </a:r>
            <a:r>
              <a:rPr lang="en-US" sz="12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Photovoltaik</a:t>
            </a:r>
            <a:r>
              <a:rPr lang="en-US" sz="12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-Plus”, </a:t>
            </a:r>
            <a:r>
              <a:rPr lang="en-US" sz="12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Einfamilienhaus</a:t>
            </a:r>
            <a:r>
              <a:rPr lang="en-US" sz="12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mit</a:t>
            </a:r>
            <a:r>
              <a:rPr lang="en-US" sz="12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PV-Anlage</a:t>
            </a:r>
          </a:p>
          <a:p>
            <a:pPr algn="ctr">
              <a:lnSpc>
                <a:spcPts val="1819"/>
              </a:lnSpc>
            </a:pP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900" dirty="0">
              <a:solidFill>
                <a:srgbClr val="112540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49" name="Group 49"/>
          <p:cNvGrpSpPr/>
          <p:nvPr/>
        </p:nvGrpSpPr>
        <p:grpSpPr>
          <a:xfrm>
            <a:off x="2636084" y="825897"/>
            <a:ext cx="11894274" cy="884858"/>
            <a:chOff x="0" y="-38100"/>
            <a:chExt cx="15859032" cy="1179810"/>
          </a:xfrm>
        </p:grpSpPr>
        <p:sp>
          <p:nvSpPr>
            <p:cNvPr id="50" name="TextBox 50"/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Förderprogramm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für PV-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usbau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1" name="TextBox 51"/>
            <p:cNvSpPr txBox="1"/>
            <p:nvPr/>
          </p:nvSpPr>
          <p:spPr>
            <a:xfrm>
              <a:off x="0" y="-38100"/>
              <a:ext cx="1495411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5</a:t>
              </a:r>
            </a:p>
          </p:txBody>
        </p:sp>
      </p:grpSp>
      <p:grpSp>
        <p:nvGrpSpPr>
          <p:cNvPr id="61" name="Group 55">
            <a:extLst>
              <a:ext uri="{FF2B5EF4-FFF2-40B4-BE49-F238E27FC236}">
                <a16:creationId xmlns:a16="http://schemas.microsoft.com/office/drawing/2014/main" id="{1A2021D9-F35C-107C-FDE3-B69F59C1B4E5}"/>
              </a:ext>
            </a:extLst>
          </p:cNvPr>
          <p:cNvGrpSpPr/>
          <p:nvPr/>
        </p:nvGrpSpPr>
        <p:grpSpPr>
          <a:xfrm>
            <a:off x="-33241" y="2291998"/>
            <a:ext cx="347146" cy="7556180"/>
            <a:chOff x="-57459" y="24949"/>
            <a:chExt cx="462859" cy="10074908"/>
          </a:xfrm>
        </p:grpSpPr>
        <p:sp>
          <p:nvSpPr>
            <p:cNvPr id="62" name="TextBox 56">
              <a:extLst>
                <a:ext uri="{FF2B5EF4-FFF2-40B4-BE49-F238E27FC236}">
                  <a16:creationId xmlns:a16="http://schemas.microsoft.com/office/drawing/2014/main" id="{7614C5BE-5CF4-FE5A-5B04-D4780765D840}"/>
                </a:ext>
              </a:extLst>
            </p:cNvPr>
            <p:cNvSpPr txBox="1"/>
            <p:nvPr/>
          </p:nvSpPr>
          <p:spPr>
            <a:xfrm rot="16200000">
              <a:off x="-4390439" y="4357929"/>
              <a:ext cx="9128820" cy="46285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Osnabrück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aniert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,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hotovoltaik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-Plus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-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fbruch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Erlangen 2022: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sbau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der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hotovoltaik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, S. 106 f.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olarWatt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etet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ine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Übersicht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über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die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olarkataster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der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undesländer</a:t>
              </a:r>
              <a:endParaRPr lang="en-US" sz="900" dirty="0">
                <a:solidFill>
                  <a:srgbClr val="112540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9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3" name="TextBox 57">
              <a:extLst>
                <a:ext uri="{FF2B5EF4-FFF2-40B4-BE49-F238E27FC236}">
                  <a16:creationId xmlns:a16="http://schemas.microsoft.com/office/drawing/2014/main" id="{2F546516-25AF-E811-263B-087DF8A2EFDF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12" name="TextBox 45">
            <a:extLst>
              <a:ext uri="{FF2B5EF4-FFF2-40B4-BE49-F238E27FC236}">
                <a16:creationId xmlns:a16="http://schemas.microsoft.com/office/drawing/2014/main" id="{B578A795-0CFF-A56A-9F50-5421F480D93A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iva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Haushal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gf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14" name="Group 12">
            <a:extLst>
              <a:ext uri="{FF2B5EF4-FFF2-40B4-BE49-F238E27FC236}">
                <a16:creationId xmlns:a16="http://schemas.microsoft.com/office/drawing/2014/main" id="{FEAAFF00-4346-1081-581B-154B70887331}"/>
              </a:ext>
            </a:extLst>
          </p:cNvPr>
          <p:cNvGrpSpPr/>
          <p:nvPr/>
        </p:nvGrpSpPr>
        <p:grpSpPr>
          <a:xfrm>
            <a:off x="615671" y="7117413"/>
            <a:ext cx="188501" cy="188501"/>
            <a:chOff x="0" y="0"/>
            <a:chExt cx="812800" cy="812800"/>
          </a:xfrm>
        </p:grpSpPr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4BFB6A53-BDB2-A5D3-D4DB-BD7BEC35FD6B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TextBox 14">
              <a:extLst>
                <a:ext uri="{FF2B5EF4-FFF2-40B4-BE49-F238E27FC236}">
                  <a16:creationId xmlns:a16="http://schemas.microsoft.com/office/drawing/2014/main" id="{6F9A3EB5-A50E-FDDE-5B49-30B75CD5A29C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grpSp>
        <p:nvGrpSpPr>
          <p:cNvPr id="13" name="Group 18">
            <a:extLst>
              <a:ext uri="{FF2B5EF4-FFF2-40B4-BE49-F238E27FC236}">
                <a16:creationId xmlns:a16="http://schemas.microsoft.com/office/drawing/2014/main" id="{076CAF54-AF62-6FD0-848B-12F693FC0B9F}"/>
              </a:ext>
            </a:extLst>
          </p:cNvPr>
          <p:cNvGrpSpPr/>
          <p:nvPr/>
        </p:nvGrpSpPr>
        <p:grpSpPr>
          <a:xfrm>
            <a:off x="2876996" y="9407587"/>
            <a:ext cx="2341249" cy="440591"/>
            <a:chOff x="0" y="0"/>
            <a:chExt cx="662234" cy="124623"/>
          </a:xfrm>
        </p:grpSpPr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AC3D9900-0828-1F2E-95E4-3FDCDFCE6627}"/>
                </a:ext>
              </a:extLst>
            </p:cNvPr>
            <p:cNvSpPr/>
            <p:nvPr/>
          </p:nvSpPr>
          <p:spPr>
            <a:xfrm>
              <a:off x="0" y="0"/>
              <a:ext cx="662234" cy="124623"/>
            </a:xfrm>
            <a:custGeom>
              <a:avLst/>
              <a:gdLst/>
              <a:ahLst/>
              <a:cxnLst/>
              <a:rect l="l" t="t" r="r" b="b"/>
              <a:pathLst>
                <a:path w="662234" h="124623">
                  <a:moveTo>
                    <a:pt x="62312" y="0"/>
                  </a:moveTo>
                  <a:lnTo>
                    <a:pt x="599922" y="0"/>
                  </a:lnTo>
                  <a:cubicBezTo>
                    <a:pt x="616448" y="0"/>
                    <a:pt x="632297" y="6565"/>
                    <a:pt x="643983" y="18251"/>
                  </a:cubicBezTo>
                  <a:cubicBezTo>
                    <a:pt x="655669" y="29936"/>
                    <a:pt x="662234" y="45786"/>
                    <a:pt x="662234" y="62312"/>
                  </a:cubicBezTo>
                  <a:lnTo>
                    <a:pt x="662234" y="62312"/>
                  </a:lnTo>
                  <a:cubicBezTo>
                    <a:pt x="662234" y="78838"/>
                    <a:pt x="655669" y="94687"/>
                    <a:pt x="643983" y="106373"/>
                  </a:cubicBezTo>
                  <a:cubicBezTo>
                    <a:pt x="632297" y="118058"/>
                    <a:pt x="616448" y="124623"/>
                    <a:pt x="59992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TextBox 20">
              <a:extLst>
                <a:ext uri="{FF2B5EF4-FFF2-40B4-BE49-F238E27FC236}">
                  <a16:creationId xmlns:a16="http://schemas.microsoft.com/office/drawing/2014/main" id="{7EF7088A-C552-A582-1582-B860F393EB1E}"/>
                </a:ext>
              </a:extLst>
            </p:cNvPr>
            <p:cNvSpPr txBox="1"/>
            <p:nvPr/>
          </p:nvSpPr>
          <p:spPr>
            <a:xfrm>
              <a:off x="0" y="-28575"/>
              <a:ext cx="662234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grpSp>
        <p:nvGrpSpPr>
          <p:cNvPr id="55" name="Group 21">
            <a:extLst>
              <a:ext uri="{FF2B5EF4-FFF2-40B4-BE49-F238E27FC236}">
                <a16:creationId xmlns:a16="http://schemas.microsoft.com/office/drawing/2014/main" id="{1414942E-6FFE-D55C-A52F-3070D31CE0A5}"/>
              </a:ext>
            </a:extLst>
          </p:cNvPr>
          <p:cNvGrpSpPr/>
          <p:nvPr/>
        </p:nvGrpSpPr>
        <p:grpSpPr>
          <a:xfrm>
            <a:off x="5332545" y="9407587"/>
            <a:ext cx="2463783" cy="440591"/>
            <a:chOff x="0" y="0"/>
            <a:chExt cx="696893" cy="124623"/>
          </a:xfrm>
        </p:grpSpPr>
        <p:sp>
          <p:nvSpPr>
            <p:cNvPr id="56" name="Freeform 22">
              <a:extLst>
                <a:ext uri="{FF2B5EF4-FFF2-40B4-BE49-F238E27FC236}">
                  <a16:creationId xmlns:a16="http://schemas.microsoft.com/office/drawing/2014/main" id="{30B7B372-275A-E225-0F3C-4D2274B57287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TextBox 23">
              <a:extLst>
                <a:ext uri="{FF2B5EF4-FFF2-40B4-BE49-F238E27FC236}">
                  <a16:creationId xmlns:a16="http://schemas.microsoft.com/office/drawing/2014/main" id="{EEF708E8-AF82-CC0F-2B53-4C8632DF8DF1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8" name="Freeform 33">
            <a:extLst>
              <a:ext uri="{FF2B5EF4-FFF2-40B4-BE49-F238E27FC236}">
                <a16:creationId xmlns:a16="http://schemas.microsoft.com/office/drawing/2014/main" id="{A5926340-DBD6-3B30-A131-E5EFDE7B076E}"/>
              </a:ext>
            </a:extLst>
          </p:cNvPr>
          <p:cNvSpPr/>
          <p:nvPr/>
        </p:nvSpPr>
        <p:spPr>
          <a:xfrm>
            <a:off x="2996849" y="950344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3" y="0"/>
                </a:lnTo>
                <a:lnTo>
                  <a:pt x="233323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9" name="Freeform 34">
            <a:extLst>
              <a:ext uri="{FF2B5EF4-FFF2-40B4-BE49-F238E27FC236}">
                <a16:creationId xmlns:a16="http://schemas.microsoft.com/office/drawing/2014/main" id="{7812424F-5307-3A69-14E4-D858EE6D4A31}"/>
              </a:ext>
            </a:extLst>
          </p:cNvPr>
          <p:cNvSpPr/>
          <p:nvPr/>
        </p:nvSpPr>
        <p:spPr>
          <a:xfrm>
            <a:off x="5456370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0" name="TextBox 37">
            <a:extLst>
              <a:ext uri="{FF2B5EF4-FFF2-40B4-BE49-F238E27FC236}">
                <a16:creationId xmlns:a16="http://schemas.microsoft.com/office/drawing/2014/main" id="{C01A9E6C-E01D-5556-48EC-E901F1904A9E}"/>
              </a:ext>
            </a:extLst>
          </p:cNvPr>
          <p:cNvSpPr txBox="1"/>
          <p:nvPr/>
        </p:nvSpPr>
        <p:spPr>
          <a:xfrm>
            <a:off x="3277797" y="9500566"/>
            <a:ext cx="1765348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HG-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sparpotenzial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4" name="TextBox 38">
            <a:extLst>
              <a:ext uri="{FF2B5EF4-FFF2-40B4-BE49-F238E27FC236}">
                <a16:creationId xmlns:a16="http://schemas.microsoft.com/office/drawing/2014/main" id="{C07A50DB-6BE3-CC5D-631D-D828B2B3BB7C}"/>
              </a:ext>
            </a:extLst>
          </p:cNvPr>
          <p:cNvSpPr txBox="1"/>
          <p:nvPr/>
        </p:nvSpPr>
        <p:spPr>
          <a:xfrm>
            <a:off x="5727984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grpSp>
        <p:nvGrpSpPr>
          <p:cNvPr id="65" name="Group 11">
            <a:extLst>
              <a:ext uri="{FF2B5EF4-FFF2-40B4-BE49-F238E27FC236}">
                <a16:creationId xmlns:a16="http://schemas.microsoft.com/office/drawing/2014/main" id="{5C6C362D-9092-FD0D-2B47-5756DB844068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id="{849A0A23-85E4-06E2-A8BB-37A580513666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TextBox 13">
              <a:extLst>
                <a:ext uri="{FF2B5EF4-FFF2-40B4-BE49-F238E27FC236}">
                  <a16:creationId xmlns:a16="http://schemas.microsoft.com/office/drawing/2014/main" id="{25D90539-2F12-A50C-F019-5A4C6D7011F5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68" name="TextBox 37">
            <a:extLst>
              <a:ext uri="{FF2B5EF4-FFF2-40B4-BE49-F238E27FC236}">
                <a16:creationId xmlns:a16="http://schemas.microsoft.com/office/drawing/2014/main" id="{79B5BECD-8365-8636-7EA6-585F82E643C6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9" name="Freeform 26">
            <a:extLst>
              <a:ext uri="{FF2B5EF4-FFF2-40B4-BE49-F238E27FC236}">
                <a16:creationId xmlns:a16="http://schemas.microsoft.com/office/drawing/2014/main" id="{D5712984-D682-0726-7B9D-52C11EED7244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grpSp>
        <p:nvGrpSpPr>
          <p:cNvPr id="70" name="Group 20">
            <a:extLst>
              <a:ext uri="{FF2B5EF4-FFF2-40B4-BE49-F238E27FC236}">
                <a16:creationId xmlns:a16="http://schemas.microsoft.com/office/drawing/2014/main" id="{00DEC1E6-9DDA-BA69-4A7A-99767207EF6C}"/>
              </a:ext>
            </a:extLst>
          </p:cNvPr>
          <p:cNvGrpSpPr/>
          <p:nvPr/>
        </p:nvGrpSpPr>
        <p:grpSpPr>
          <a:xfrm>
            <a:off x="7910628" y="9407587"/>
            <a:ext cx="2934338" cy="440591"/>
            <a:chOff x="0" y="0"/>
            <a:chExt cx="829992" cy="124623"/>
          </a:xfrm>
        </p:grpSpPr>
        <p:sp>
          <p:nvSpPr>
            <p:cNvPr id="71" name="Freeform 21">
              <a:extLst>
                <a:ext uri="{FF2B5EF4-FFF2-40B4-BE49-F238E27FC236}">
                  <a16:creationId xmlns:a16="http://schemas.microsoft.com/office/drawing/2014/main" id="{3BA50869-6FDA-4E33-4C13-1AB68E272477}"/>
                </a:ext>
              </a:extLst>
            </p:cNvPr>
            <p:cNvSpPr/>
            <p:nvPr/>
          </p:nvSpPr>
          <p:spPr>
            <a:xfrm>
              <a:off x="0" y="0"/>
              <a:ext cx="829992" cy="124623"/>
            </a:xfrm>
            <a:custGeom>
              <a:avLst/>
              <a:gdLst/>
              <a:ahLst/>
              <a:cxnLst/>
              <a:rect l="l" t="t" r="r" b="b"/>
              <a:pathLst>
                <a:path w="829992" h="124623">
                  <a:moveTo>
                    <a:pt x="62312" y="0"/>
                  </a:moveTo>
                  <a:lnTo>
                    <a:pt x="767680" y="0"/>
                  </a:lnTo>
                  <a:cubicBezTo>
                    <a:pt x="784206" y="0"/>
                    <a:pt x="800055" y="6565"/>
                    <a:pt x="811741" y="18251"/>
                  </a:cubicBezTo>
                  <a:cubicBezTo>
                    <a:pt x="823427" y="29936"/>
                    <a:pt x="829992" y="45786"/>
                    <a:pt x="829992" y="62312"/>
                  </a:cubicBezTo>
                  <a:lnTo>
                    <a:pt x="829992" y="62312"/>
                  </a:lnTo>
                  <a:cubicBezTo>
                    <a:pt x="829992" y="96725"/>
                    <a:pt x="802094" y="124623"/>
                    <a:pt x="767680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TextBox 22">
              <a:extLst>
                <a:ext uri="{FF2B5EF4-FFF2-40B4-BE49-F238E27FC236}">
                  <a16:creationId xmlns:a16="http://schemas.microsoft.com/office/drawing/2014/main" id="{91F86DB4-AA48-022A-6D07-3F62B1A9E603}"/>
                </a:ext>
              </a:extLst>
            </p:cNvPr>
            <p:cNvSpPr txBox="1"/>
            <p:nvPr/>
          </p:nvSpPr>
          <p:spPr>
            <a:xfrm>
              <a:off x="0" y="-28575"/>
              <a:ext cx="829992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73" name="Freeform 28">
            <a:extLst>
              <a:ext uri="{FF2B5EF4-FFF2-40B4-BE49-F238E27FC236}">
                <a16:creationId xmlns:a16="http://schemas.microsoft.com/office/drawing/2014/main" id="{C7032643-7A1B-DAE0-7E2A-97B0963DCE87}"/>
              </a:ext>
            </a:extLst>
          </p:cNvPr>
          <p:cNvSpPr/>
          <p:nvPr/>
        </p:nvSpPr>
        <p:spPr>
          <a:xfrm>
            <a:off x="8079681" y="952480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3" y="0"/>
                </a:lnTo>
                <a:lnTo>
                  <a:pt x="233323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4" name="TextBox 35">
            <a:extLst>
              <a:ext uri="{FF2B5EF4-FFF2-40B4-BE49-F238E27FC236}">
                <a16:creationId xmlns:a16="http://schemas.microsoft.com/office/drawing/2014/main" id="{D73D1C4B-6277-5263-E038-6B31475E1739}"/>
              </a:ext>
            </a:extLst>
          </p:cNvPr>
          <p:cNvSpPr txBox="1"/>
          <p:nvPr/>
        </p:nvSpPr>
        <p:spPr>
          <a:xfrm>
            <a:off x="8360629" y="9506372"/>
            <a:ext cx="2365114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nefits für die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llgemeinh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75" name="Grafik 74" descr="Sterne mit einfarbiger Füllung">
            <a:extLst>
              <a:ext uri="{FF2B5EF4-FFF2-40B4-BE49-F238E27FC236}">
                <a16:creationId xmlns:a16="http://schemas.microsoft.com/office/drawing/2014/main" id="{6E02FD3B-A145-C00A-0FDF-94F4B1A70B3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10067" y="9391420"/>
            <a:ext cx="457200" cy="457200"/>
          </a:xfrm>
          <a:prstGeom prst="rect">
            <a:avLst/>
          </a:prstGeom>
        </p:spPr>
      </p:pic>
      <p:sp>
        <p:nvSpPr>
          <p:cNvPr id="76" name="TextBox 34">
            <a:extLst>
              <a:ext uri="{FF2B5EF4-FFF2-40B4-BE49-F238E27FC236}">
                <a16:creationId xmlns:a16="http://schemas.microsoft.com/office/drawing/2014/main" id="{D8E27288-30E4-1FCE-5C54-2CAF09A94E16}"/>
              </a:ext>
            </a:extLst>
          </p:cNvPr>
          <p:cNvSpPr txBox="1"/>
          <p:nvPr/>
        </p:nvSpPr>
        <p:spPr>
          <a:xfrm>
            <a:off x="11397962" y="9501308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örderung Mannheim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41702729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679550" y="429846"/>
            <a:ext cx="1725138" cy="1190179"/>
          </a:xfrm>
          <a:custGeom>
            <a:avLst/>
            <a:gdLst/>
            <a:ahLst/>
            <a:cxnLst/>
            <a:rect l="l" t="t" r="r" b="b"/>
            <a:pathLst>
              <a:path w="1725138" h="1190179">
                <a:moveTo>
                  <a:pt x="0" y="0"/>
                </a:moveTo>
                <a:lnTo>
                  <a:pt x="1725138" y="0"/>
                </a:lnTo>
                <a:lnTo>
                  <a:pt x="1725138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1597380" cy="339603"/>
            <a:chOff x="0" y="0"/>
            <a:chExt cx="2129840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129840" cy="452804"/>
              <a:chOff x="0" y="0"/>
              <a:chExt cx="591622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591622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591622" h="125779">
                    <a:moveTo>
                      <a:pt x="0" y="0"/>
                    </a:moveTo>
                    <a:lnTo>
                      <a:pt x="591622" y="0"/>
                    </a:lnTo>
                    <a:lnTo>
                      <a:pt x="591622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591622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51509" y="18756"/>
              <a:ext cx="202682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Strom-Sektor</a:t>
              </a: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15" name="Group 15"/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TextBox 17"/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0" name="Freeform 30"/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1" name="TextBox 41"/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Öffentliche Wirkung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517221" y="2150128"/>
            <a:ext cx="12097407" cy="34358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icht nur die finanzielle Förderung für den Ausbau von Solaranlagen ist wichtig. Private und KMU (kleine und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tlere Unternehmen) brauchen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ratung und Unterstützung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i dem PV-Ausbau:</a:t>
            </a:r>
          </a:p>
          <a:p>
            <a:pPr algn="l">
              <a:lnSpc>
                <a:spcPts val="3039"/>
              </a:lnSpc>
            </a:pPr>
            <a:endParaRPr lang="de-DE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V-Ausbau-Beratung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urch Energiemanagement/ Stadtwerke/ Wirtschaftsförderung, besonders zu Fördermittel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aket-Angebote: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PV-Leasing, Heizungsleasing/ </a:t>
            </a:r>
            <a:r>
              <a:rPr lang="de-DE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contracting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/ Förderabwicklung für Unternehmen etc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ratung zu </a:t>
            </a:r>
            <a:r>
              <a:rPr lang="de-DE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eter:innen-Strom-Projekten</a:t>
            </a:r>
            <a:endParaRPr lang="de-DE" sz="1899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beratung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Unternehmen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889210" y="7027192"/>
            <a:ext cx="11554521" cy="1122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13469326" y="6989092"/>
            <a:ext cx="4203003" cy="22817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terne/extern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berater:inn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gf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Stadtwerke (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aketlös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o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rat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braucherzentral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6916400" y="9541473"/>
            <a:ext cx="8879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6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familienhaus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ach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-PV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112540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49" name="Group 49"/>
          <p:cNvGrpSpPr/>
          <p:nvPr/>
        </p:nvGrpSpPr>
        <p:grpSpPr>
          <a:xfrm>
            <a:off x="2636084" y="292497"/>
            <a:ext cx="11894274" cy="1423467"/>
            <a:chOff x="0" y="-38100"/>
            <a:chExt cx="15859032" cy="1897955"/>
          </a:xfrm>
        </p:grpSpPr>
        <p:sp>
          <p:nvSpPr>
            <p:cNvPr id="50" name="TextBox 50"/>
            <p:cNvSpPr txBox="1"/>
            <p:nvPr/>
          </p:nvSpPr>
          <p:spPr>
            <a:xfrm>
              <a:off x="0" y="456565"/>
              <a:ext cx="15859032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ratung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-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nterstützungsangebot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für Private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nternehm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1" name="TextBox 51"/>
            <p:cNvSpPr txBox="1"/>
            <p:nvPr/>
          </p:nvSpPr>
          <p:spPr>
            <a:xfrm>
              <a:off x="0" y="-38100"/>
              <a:ext cx="1882048" cy="408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6</a:t>
              </a:r>
            </a:p>
          </p:txBody>
        </p:sp>
      </p:grpSp>
      <p:grpSp>
        <p:nvGrpSpPr>
          <p:cNvPr id="55" name="Group 55">
            <a:extLst>
              <a:ext uri="{FF2B5EF4-FFF2-40B4-BE49-F238E27FC236}">
                <a16:creationId xmlns:a16="http://schemas.microsoft.com/office/drawing/2014/main" id="{9CFB1D60-B08B-36B7-7BFD-03B44FDEC943}"/>
              </a:ext>
            </a:extLst>
          </p:cNvPr>
          <p:cNvGrpSpPr/>
          <p:nvPr/>
        </p:nvGrpSpPr>
        <p:grpSpPr>
          <a:xfrm>
            <a:off x="-15768" y="2291998"/>
            <a:ext cx="350802" cy="7556180"/>
            <a:chOff x="-34161" y="24949"/>
            <a:chExt cx="467733" cy="10074908"/>
          </a:xfrm>
        </p:grpSpPr>
        <p:sp>
          <p:nvSpPr>
            <p:cNvPr id="56" name="TextBox 56">
              <a:extLst>
                <a:ext uri="{FF2B5EF4-FFF2-40B4-BE49-F238E27FC236}">
                  <a16:creationId xmlns:a16="http://schemas.microsoft.com/office/drawing/2014/main" id="{B37F96FE-B70A-C99C-A616-E53FBD3FCEB4}"/>
                </a:ext>
              </a:extLst>
            </p:cNvPr>
            <p:cNvSpPr txBox="1"/>
            <p:nvPr/>
          </p:nvSpPr>
          <p:spPr>
            <a:xfrm rot="16200000">
              <a:off x="-4362267" y="4357929"/>
              <a:ext cx="9128820" cy="46285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K:KK 2023: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ekarbonisierung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des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ebäudebestands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ntwicklung und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ngebot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von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nergiedienstleistung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u.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Optimierung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der (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stitution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) </a:t>
              </a: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eratungsstrukturen</a:t>
              </a:r>
              <a:endParaRPr lang="en-US" sz="900" dirty="0">
                <a:solidFill>
                  <a:srgbClr val="112540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10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7" name="TextBox 57">
              <a:extLst>
                <a:ext uri="{FF2B5EF4-FFF2-40B4-BE49-F238E27FC236}">
                  <a16:creationId xmlns:a16="http://schemas.microsoft.com/office/drawing/2014/main" id="{FD66A8C9-CAFD-69DD-26A2-DD9FC623A038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52" name="Group 12">
            <a:extLst>
              <a:ext uri="{FF2B5EF4-FFF2-40B4-BE49-F238E27FC236}">
                <a16:creationId xmlns:a16="http://schemas.microsoft.com/office/drawing/2014/main" id="{F794BF22-52CF-2D13-CDB9-341B0AFCC494}"/>
              </a:ext>
            </a:extLst>
          </p:cNvPr>
          <p:cNvGrpSpPr/>
          <p:nvPr/>
        </p:nvGrpSpPr>
        <p:grpSpPr>
          <a:xfrm>
            <a:off x="615671" y="7117413"/>
            <a:ext cx="188501" cy="188501"/>
            <a:chOff x="0" y="0"/>
            <a:chExt cx="812800" cy="812800"/>
          </a:xfrm>
        </p:grpSpPr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5502057A-AF39-FF5F-B473-B5D2125331F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TextBox 14">
              <a:extLst>
                <a:ext uri="{FF2B5EF4-FFF2-40B4-BE49-F238E27FC236}">
                  <a16:creationId xmlns:a16="http://schemas.microsoft.com/office/drawing/2014/main" id="{F869F0BC-12EA-3DC7-BBC3-4B4886A413ED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grpSp>
        <p:nvGrpSpPr>
          <p:cNvPr id="12" name="Group 20">
            <a:extLst>
              <a:ext uri="{FF2B5EF4-FFF2-40B4-BE49-F238E27FC236}">
                <a16:creationId xmlns:a16="http://schemas.microsoft.com/office/drawing/2014/main" id="{62E81B10-BD67-63C0-D518-20B55AC4F88C}"/>
              </a:ext>
            </a:extLst>
          </p:cNvPr>
          <p:cNvGrpSpPr/>
          <p:nvPr/>
        </p:nvGrpSpPr>
        <p:grpSpPr>
          <a:xfrm>
            <a:off x="2888124" y="9403208"/>
            <a:ext cx="2934338" cy="440591"/>
            <a:chOff x="0" y="0"/>
            <a:chExt cx="829992" cy="124623"/>
          </a:xfrm>
        </p:grpSpPr>
        <p:sp>
          <p:nvSpPr>
            <p:cNvPr id="13" name="Freeform 21">
              <a:extLst>
                <a:ext uri="{FF2B5EF4-FFF2-40B4-BE49-F238E27FC236}">
                  <a16:creationId xmlns:a16="http://schemas.microsoft.com/office/drawing/2014/main" id="{8C79F66C-B73D-955A-C017-1E09F228FEF6}"/>
                </a:ext>
              </a:extLst>
            </p:cNvPr>
            <p:cNvSpPr/>
            <p:nvPr/>
          </p:nvSpPr>
          <p:spPr>
            <a:xfrm>
              <a:off x="0" y="0"/>
              <a:ext cx="829992" cy="124623"/>
            </a:xfrm>
            <a:custGeom>
              <a:avLst/>
              <a:gdLst/>
              <a:ahLst/>
              <a:cxnLst/>
              <a:rect l="l" t="t" r="r" b="b"/>
              <a:pathLst>
                <a:path w="829992" h="124623">
                  <a:moveTo>
                    <a:pt x="62312" y="0"/>
                  </a:moveTo>
                  <a:lnTo>
                    <a:pt x="767680" y="0"/>
                  </a:lnTo>
                  <a:cubicBezTo>
                    <a:pt x="784206" y="0"/>
                    <a:pt x="800055" y="6565"/>
                    <a:pt x="811741" y="18251"/>
                  </a:cubicBezTo>
                  <a:cubicBezTo>
                    <a:pt x="823427" y="29936"/>
                    <a:pt x="829992" y="45786"/>
                    <a:pt x="829992" y="62312"/>
                  </a:cubicBezTo>
                  <a:lnTo>
                    <a:pt x="829992" y="62312"/>
                  </a:lnTo>
                  <a:cubicBezTo>
                    <a:pt x="829992" y="96725"/>
                    <a:pt x="802094" y="124623"/>
                    <a:pt x="767680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TextBox 22">
              <a:extLst>
                <a:ext uri="{FF2B5EF4-FFF2-40B4-BE49-F238E27FC236}">
                  <a16:creationId xmlns:a16="http://schemas.microsoft.com/office/drawing/2014/main" id="{EBA2DE75-7E98-CD06-1513-17BCD7CC3D0F}"/>
                </a:ext>
              </a:extLst>
            </p:cNvPr>
            <p:cNvSpPr txBox="1"/>
            <p:nvPr/>
          </p:nvSpPr>
          <p:spPr>
            <a:xfrm>
              <a:off x="0" y="-28575"/>
              <a:ext cx="829992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8" name="Freeform 28">
            <a:extLst>
              <a:ext uri="{FF2B5EF4-FFF2-40B4-BE49-F238E27FC236}">
                <a16:creationId xmlns:a16="http://schemas.microsoft.com/office/drawing/2014/main" id="{DF1CA703-24F3-6F32-DF13-0A8ACD826810}"/>
              </a:ext>
            </a:extLst>
          </p:cNvPr>
          <p:cNvSpPr/>
          <p:nvPr/>
        </p:nvSpPr>
        <p:spPr>
          <a:xfrm>
            <a:off x="3057177" y="9520429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3" y="0"/>
                </a:lnTo>
                <a:lnTo>
                  <a:pt x="233323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9" name="TextBox 35">
            <a:extLst>
              <a:ext uri="{FF2B5EF4-FFF2-40B4-BE49-F238E27FC236}">
                <a16:creationId xmlns:a16="http://schemas.microsoft.com/office/drawing/2014/main" id="{CC1FFA2F-FA65-EDC9-8C21-B9C2FBB4E585}"/>
              </a:ext>
            </a:extLst>
          </p:cNvPr>
          <p:cNvSpPr txBox="1"/>
          <p:nvPr/>
        </p:nvSpPr>
        <p:spPr>
          <a:xfrm>
            <a:off x="3338125" y="9501993"/>
            <a:ext cx="2365114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nefits für die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llgemeinh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14525206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679550" y="429846"/>
            <a:ext cx="1725138" cy="1190179"/>
          </a:xfrm>
          <a:custGeom>
            <a:avLst/>
            <a:gdLst/>
            <a:ahLst/>
            <a:cxnLst/>
            <a:rect l="l" t="t" r="r" b="b"/>
            <a:pathLst>
              <a:path w="1725138" h="1190179">
                <a:moveTo>
                  <a:pt x="0" y="0"/>
                </a:moveTo>
                <a:lnTo>
                  <a:pt x="1725138" y="0"/>
                </a:lnTo>
                <a:lnTo>
                  <a:pt x="1725138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1597380" cy="339603"/>
            <a:chOff x="0" y="0"/>
            <a:chExt cx="2129840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129840" cy="452804"/>
              <a:chOff x="0" y="0"/>
              <a:chExt cx="591622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591622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591622" h="125779">
                    <a:moveTo>
                      <a:pt x="0" y="0"/>
                    </a:moveTo>
                    <a:lnTo>
                      <a:pt x="591622" y="0"/>
                    </a:lnTo>
                    <a:lnTo>
                      <a:pt x="591622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591622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51509" y="18756"/>
              <a:ext cx="202682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Strom-Sektor</a:t>
              </a: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2" name="TextBox 42"/>
          <p:cNvSpPr txBox="1"/>
          <p:nvPr/>
        </p:nvSpPr>
        <p:spPr>
          <a:xfrm>
            <a:off x="517221" y="2150128"/>
            <a:ext cx="12097407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Kommun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wirkt als Eigentümerin oder Anteilseignerin die Umstellung des Stromangebots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r Stadtwerke auf 100 % qualifizierten Ökostrom.</a:t>
            </a:r>
            <a:endParaRPr lang="en-US" sz="1899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3" name="TextBox 43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13469326" y="6989092"/>
            <a:ext cx="4203003" cy="1127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-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werke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6979886" y="9541473"/>
            <a:ext cx="824501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 7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13636773" y="5715305"/>
            <a:ext cx="4035556" cy="4515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Strommast</a:t>
            </a:r>
            <a:endParaRPr lang="en-US" sz="1299" dirty="0">
              <a:solidFill>
                <a:srgbClr val="112540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300" dirty="0">
                <a:solidFill>
                  <a:srgbClr val="112540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900" dirty="0">
              <a:solidFill>
                <a:srgbClr val="112540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49" name="Group 49"/>
          <p:cNvGrpSpPr/>
          <p:nvPr/>
        </p:nvGrpSpPr>
        <p:grpSpPr>
          <a:xfrm>
            <a:off x="2636084" y="825897"/>
            <a:ext cx="11894274" cy="884858"/>
            <a:chOff x="0" y="-38100"/>
            <a:chExt cx="15859032" cy="1179810"/>
          </a:xfrm>
        </p:grpSpPr>
        <p:sp>
          <p:nvSpPr>
            <p:cNvPr id="50" name="TextBox 50"/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100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Prozent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qualifizierte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Ökostrom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l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ngebot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der Stadtwerke</a:t>
              </a:r>
            </a:p>
          </p:txBody>
        </p:sp>
        <p:sp>
          <p:nvSpPr>
            <p:cNvPr id="51" name="TextBox 51"/>
            <p:cNvSpPr txBox="1"/>
            <p:nvPr/>
          </p:nvSpPr>
          <p:spPr>
            <a:xfrm>
              <a:off x="0" y="-38100"/>
              <a:ext cx="1495411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7</a:t>
              </a:r>
            </a:p>
          </p:txBody>
        </p:sp>
      </p:grpSp>
      <p:sp>
        <p:nvSpPr>
          <p:cNvPr id="12" name="TextBox 45">
            <a:extLst>
              <a:ext uri="{FF2B5EF4-FFF2-40B4-BE49-F238E27FC236}">
                <a16:creationId xmlns:a16="http://schemas.microsoft.com/office/drawing/2014/main" id="{B578A795-0CFF-A56A-9F50-5421F480D93A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se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rombezug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neuerbar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rom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8F55FB6-535E-2892-85AB-74CDB9A830B2}"/>
              </a:ext>
            </a:extLst>
          </p:cNvPr>
          <p:cNvGrpSpPr/>
          <p:nvPr/>
        </p:nvGrpSpPr>
        <p:grpSpPr>
          <a:xfrm>
            <a:off x="615671" y="7173385"/>
            <a:ext cx="188501" cy="188501"/>
            <a:chOff x="0" y="0"/>
            <a:chExt cx="812800" cy="812800"/>
          </a:xfrm>
        </p:grpSpPr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17EC2932-7703-05D5-ECD5-1B7F8A0E8792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AED8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TextBox 14">
              <a:extLst>
                <a:ext uri="{FF2B5EF4-FFF2-40B4-BE49-F238E27FC236}">
                  <a16:creationId xmlns:a16="http://schemas.microsoft.com/office/drawing/2014/main" id="{7B92D0C2-BDF4-1A05-BA22-FE71A90EB836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14" name="Group 15">
            <a:extLst>
              <a:ext uri="{FF2B5EF4-FFF2-40B4-BE49-F238E27FC236}">
                <a16:creationId xmlns:a16="http://schemas.microsoft.com/office/drawing/2014/main" id="{20641C20-4299-1188-A87D-D957D3DA66CB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52" name="Freeform 16">
              <a:extLst>
                <a:ext uri="{FF2B5EF4-FFF2-40B4-BE49-F238E27FC236}">
                  <a16:creationId xmlns:a16="http://schemas.microsoft.com/office/drawing/2014/main" id="{E334B99C-FB83-3522-A309-692F104D06C4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TextBox 17">
              <a:extLst>
                <a:ext uri="{FF2B5EF4-FFF2-40B4-BE49-F238E27FC236}">
                  <a16:creationId xmlns:a16="http://schemas.microsoft.com/office/drawing/2014/main" id="{F1F3C546-AAA5-B3A6-F9BD-39958E9D3BD3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grpSp>
        <p:nvGrpSpPr>
          <p:cNvPr id="55" name="Group 21">
            <a:extLst>
              <a:ext uri="{FF2B5EF4-FFF2-40B4-BE49-F238E27FC236}">
                <a16:creationId xmlns:a16="http://schemas.microsoft.com/office/drawing/2014/main" id="{D68D1FE9-63CA-4CD1-3041-2B1395D7EFF5}"/>
              </a:ext>
            </a:extLst>
          </p:cNvPr>
          <p:cNvGrpSpPr/>
          <p:nvPr/>
        </p:nvGrpSpPr>
        <p:grpSpPr>
          <a:xfrm>
            <a:off x="2888124" y="9407587"/>
            <a:ext cx="2463783" cy="440591"/>
            <a:chOff x="0" y="0"/>
            <a:chExt cx="696893" cy="124623"/>
          </a:xfrm>
        </p:grpSpPr>
        <p:sp>
          <p:nvSpPr>
            <p:cNvPr id="56" name="Freeform 22">
              <a:extLst>
                <a:ext uri="{FF2B5EF4-FFF2-40B4-BE49-F238E27FC236}">
                  <a16:creationId xmlns:a16="http://schemas.microsoft.com/office/drawing/2014/main" id="{59CB708D-9F4A-C924-32C8-B9F005ED2180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TextBox 23">
              <a:extLst>
                <a:ext uri="{FF2B5EF4-FFF2-40B4-BE49-F238E27FC236}">
                  <a16:creationId xmlns:a16="http://schemas.microsoft.com/office/drawing/2014/main" id="{360F4E4D-FE4E-D949-4263-AD1811E8D56E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8" name="Freeform 30">
            <a:extLst>
              <a:ext uri="{FF2B5EF4-FFF2-40B4-BE49-F238E27FC236}">
                <a16:creationId xmlns:a16="http://schemas.microsoft.com/office/drawing/2014/main" id="{43FE8D87-EDC5-54A7-66C2-F5AA9DB8331F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9" name="Freeform 34">
            <a:extLst>
              <a:ext uri="{FF2B5EF4-FFF2-40B4-BE49-F238E27FC236}">
                <a16:creationId xmlns:a16="http://schemas.microsoft.com/office/drawing/2014/main" id="{F33563C6-FFDB-FA59-0040-B910CC078455}"/>
              </a:ext>
            </a:extLst>
          </p:cNvPr>
          <p:cNvSpPr/>
          <p:nvPr/>
        </p:nvSpPr>
        <p:spPr>
          <a:xfrm>
            <a:off x="3011949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0" name="TextBox 38">
            <a:extLst>
              <a:ext uri="{FF2B5EF4-FFF2-40B4-BE49-F238E27FC236}">
                <a16:creationId xmlns:a16="http://schemas.microsoft.com/office/drawing/2014/main" id="{F706528B-A085-8316-BAA8-8500A0760EF1}"/>
              </a:ext>
            </a:extLst>
          </p:cNvPr>
          <p:cNvSpPr txBox="1"/>
          <p:nvPr/>
        </p:nvSpPr>
        <p:spPr>
          <a:xfrm>
            <a:off x="3283563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1" name="TextBox 41">
            <a:extLst>
              <a:ext uri="{FF2B5EF4-FFF2-40B4-BE49-F238E27FC236}">
                <a16:creationId xmlns:a16="http://schemas.microsoft.com/office/drawing/2014/main" id="{3968AAC5-5761-093D-2F78-2A958BE7B9F6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62" name="Grafik 61" descr="Sterne mit einfarbiger Füllung">
            <a:extLst>
              <a:ext uri="{FF2B5EF4-FFF2-40B4-BE49-F238E27FC236}">
                <a16:creationId xmlns:a16="http://schemas.microsoft.com/office/drawing/2014/main" id="{B568F8B2-752E-CA36-8C34-522905BEBA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64820" y="9405981"/>
            <a:ext cx="457200" cy="457200"/>
          </a:xfrm>
          <a:prstGeom prst="rect">
            <a:avLst/>
          </a:prstGeom>
        </p:spPr>
      </p:pic>
      <p:sp>
        <p:nvSpPr>
          <p:cNvPr id="63" name="TextBox 34">
            <a:extLst>
              <a:ext uri="{FF2B5EF4-FFF2-40B4-BE49-F238E27FC236}">
                <a16:creationId xmlns:a16="http://schemas.microsoft.com/office/drawing/2014/main" id="{16FFE7E7-56AF-1D23-59FE-4A94702600BC}"/>
              </a:ext>
            </a:extLst>
          </p:cNvPr>
          <p:cNvSpPr txBox="1"/>
          <p:nvPr/>
        </p:nvSpPr>
        <p:spPr>
          <a:xfrm>
            <a:off x="5952715" y="9515869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Ökostrom der Stadtwerke Konstanz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4221250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Office">
  <a:themeElements>
    <a:clrScheme name="Benutzerdefiniert 3">
      <a:dk1>
        <a:srgbClr val="001432"/>
      </a:dk1>
      <a:lt1>
        <a:srgbClr val="001432"/>
      </a:lt1>
      <a:dk2>
        <a:srgbClr val="FFC80C"/>
      </a:dk2>
      <a:lt2>
        <a:srgbClr val="FEFFFF"/>
      </a:lt2>
      <a:accent1>
        <a:srgbClr val="FFC80C"/>
      </a:accent1>
      <a:accent2>
        <a:srgbClr val="00AED7"/>
      </a:accent2>
      <a:accent3>
        <a:srgbClr val="A3D769"/>
      </a:accent3>
      <a:accent4>
        <a:srgbClr val="FEFFFF"/>
      </a:accent4>
      <a:accent5>
        <a:srgbClr val="001432"/>
      </a:accent5>
      <a:accent6>
        <a:srgbClr val="001432"/>
      </a:accent6>
      <a:hlink>
        <a:srgbClr val="0563C1"/>
      </a:hlink>
      <a:folHlink>
        <a:srgbClr val="FFC80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mfindungsevents_Vorlage_Nov 22" id="{6BF04B8E-E545-456D-8C5F-128A6E7D8C3D}" vid="{37944432-ADFD-4989-938B-DA118DF2533C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80</Words>
  <Application>Microsoft Office PowerPoint</Application>
  <PresentationFormat>Benutzerdefiniert</PresentationFormat>
  <Paragraphs>305</Paragraphs>
  <Slides>1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7" baseType="lpstr">
      <vt:lpstr>Aptos</vt:lpstr>
      <vt:lpstr>DM Sans 1</vt:lpstr>
      <vt:lpstr>DM Sans 2 Bold</vt:lpstr>
      <vt:lpstr>Wingdings</vt:lpstr>
      <vt:lpstr>Open Sans</vt:lpstr>
      <vt:lpstr>Open Sans Bold</vt:lpstr>
      <vt:lpstr>Symbol</vt:lpstr>
      <vt:lpstr>DM Sans 2</vt:lpstr>
      <vt:lpstr>Arial</vt:lpstr>
      <vt:lpstr>Calibri</vt:lpstr>
      <vt:lpstr>Office Theme</vt:lpstr>
      <vt:lpstr>5_Office</vt:lpstr>
      <vt:lpstr>think-cell Folie</vt:lpstr>
      <vt:lpstr>LocalZero Top-Maßnahmen Strom 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. Entwurf_PP Top-Maßnahmen</dc:title>
  <dc:creator>Markus Schmidt</dc:creator>
  <cp:lastModifiedBy>Pauline Höchter</cp:lastModifiedBy>
  <cp:revision>7</cp:revision>
  <dcterms:created xsi:type="dcterms:W3CDTF">2006-08-16T00:00:00Z</dcterms:created>
  <dcterms:modified xsi:type="dcterms:W3CDTF">2024-09-26T13:30:13Z</dcterms:modified>
  <dc:identifier>DAGMa3UTT6E</dc:identifier>
</cp:coreProperties>
</file>